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56" r:id="rId2"/>
    <p:sldId id="263" r:id="rId3"/>
    <p:sldId id="272" r:id="rId4"/>
    <p:sldId id="257" r:id="rId5"/>
    <p:sldId id="260" r:id="rId6"/>
    <p:sldId id="275" r:id="rId7"/>
    <p:sldId id="266" r:id="rId8"/>
    <p:sldId id="274" r:id="rId9"/>
    <p:sldId id="276" r:id="rId10"/>
    <p:sldId id="277" r:id="rId11"/>
    <p:sldId id="261" r:id="rId12"/>
    <p:sldId id="262" r:id="rId13"/>
    <p:sldId id="273" r:id="rId14"/>
    <p:sldId id="259" r:id="rId15"/>
    <p:sldId id="269" r:id="rId16"/>
  </p:sldIdLst>
  <p:sldSz cx="9144000" cy="6858000" type="screen4x3"/>
  <p:notesSz cx="6858000" cy="9144000"/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5300"/>
    <a:srgbClr val="0E4D62"/>
    <a:srgbClr val="C50F20"/>
    <a:srgbClr val="FF4E00"/>
    <a:srgbClr val="D95319"/>
    <a:srgbClr val="CA6260"/>
    <a:srgbClr val="DF6A61"/>
    <a:srgbClr val="FF6F1B"/>
    <a:srgbClr val="FF9300"/>
    <a:srgbClr val="942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7"/>
    <p:restoredTop sz="87576"/>
  </p:normalViewPr>
  <p:slideViewPr>
    <p:cSldViewPr snapToGrid="0" snapToObjects="1">
      <p:cViewPr varScale="1">
        <p:scale>
          <a:sx n="99" d="100"/>
          <a:sy n="99" d="100"/>
        </p:scale>
        <p:origin x="192" y="184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ore-DE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167314-A54A-1641-AB1E-8B05DE1904D0}" type="datetimeFigureOut">
              <a:rPr kumimoji="1" lang="ko-Kore-DE" altLang="en-US" smtClean="0"/>
              <a:t>24.06.21</a:t>
            </a:fld>
            <a:endParaRPr kumimoji="1" lang="ko-Kore-DE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ore-DE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ko-Kore-DE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ore-DE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658889-3B09-A442-B9D2-39C0EA97558F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426654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ore-DE" dirty="0"/>
              <a:t>Name, title, </a:t>
            </a:r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4274742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kumimoji="1" lang="ko-Kore-DE" altLang="en-US" b="1" dirty="0"/>
              </a:p>
            </p:txBody>
          </p:sp>
        </mc:Choice>
        <mc:Fallback xmlns="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ore-DE" sz="1200" dirty="0"/>
                  <a:t>Explain the figur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ore-DE" sz="1200" dirty="0"/>
                  <a:t>(Due to conditions 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𝜎_</a:t>
                </a:r>
                <a:r>
                  <a:rPr kumimoji="1" lang="en-US" altLang="ko-KR" sz="1200" i="0">
                    <a:latin typeface="Cambria Math" panose="02040503050406030204" pitchFamily="18" charset="0"/>
                  </a:rPr>
                  <a:t>𝑘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≥1</a:t>
                </a:r>
                <a:r>
                  <a:rPr lang="en-US" altLang="ko-Kore-DE" sz="1200" dirty="0"/>
                  <a:t> and 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𝑞_</a:t>
                </a:r>
                <a:r>
                  <a:rPr kumimoji="1" lang="en-US" altLang="ko-KR" sz="1200" i="0">
                    <a:latin typeface="Cambria Math" panose="02040503050406030204" pitchFamily="18" charset="0"/>
                  </a:rPr>
                  <a:t>𝑘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&lt;1/(16𝜎_𝑘 )</a:t>
                </a:r>
                <a:r>
                  <a:rPr lang="en-US" altLang="ko-Kore-DE" sz="1200" dirty="0"/>
                  <a:t>, the domain of 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𝜖_</a:t>
                </a:r>
                <a:r>
                  <a:rPr kumimoji="1" lang="en-US" altLang="ko-KR" sz="1200" i="0">
                    <a:latin typeface="Cambria Math" panose="02040503050406030204" pitchFamily="18" charset="0"/>
                  </a:rPr>
                  <a:t>𝑘</a:t>
                </a:r>
                <a:r>
                  <a:rPr lang="en-US" altLang="ko-Kore-DE" sz="1200" dirty="0"/>
                  <a:t> is restricted (by the black dashed lines in the graphs) as well, and the curves show saturating behavior when </a:t>
                </a:r>
                <a:r>
                  <a:rPr kumimoji="1" lang="en-US" altLang="ko-KR" sz="1200" b="0" i="0">
                    <a:latin typeface="Cambria Math" panose="02040503050406030204" pitchFamily="18" charset="0"/>
                  </a:rPr>
                  <a:t>𝜖_</a:t>
                </a:r>
                <a:r>
                  <a:rPr kumimoji="1" lang="en-US" altLang="ko-KR" sz="1200" i="0">
                    <a:latin typeface="Cambria Math" panose="02040503050406030204" pitchFamily="18" charset="0"/>
                  </a:rPr>
                  <a:t>𝑘</a:t>
                </a:r>
                <a:r>
                  <a:rPr lang="en-US" altLang="ko-Kore-DE" sz="1200" dirty="0"/>
                  <a:t> is larger than some values.)</a:t>
                </a:r>
              </a:p>
              <a:p>
                <a:endParaRPr kumimoji="1" lang="ko-Kore-DE" altLang="en-US" b="1" dirty="0"/>
              </a:p>
            </p:txBody>
          </p:sp>
        </mc:Fallback>
      </mc:AlternateContent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0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5457882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1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1579305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2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9765603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4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7152822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altLang="ko-Kore-DE" sz="12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15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392672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2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4129128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3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526985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4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424630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ore-DE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5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710529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6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357628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7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9346851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DE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8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676821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kumimoji="1" lang="ko-Kore-DE" altLang="en-US" b="1" dirty="0"/>
              </a:p>
            </p:txBody>
          </p:sp>
        </mc:Choice>
        <mc:Fallback xmlns="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kumimoji="1" lang="en-US" altLang="ko-Kore-DE" b="1" dirty="0"/>
                  <a:t>Fix T and parameterize </a:t>
                </a:r>
                <a:r>
                  <a:rPr kumimoji="1" lang="en-US" altLang="ko-KR" sz="1200" i="0">
                    <a:latin typeface="Cambria Math" panose="02040503050406030204" pitchFamily="18" charset="0"/>
                  </a:rPr>
                  <a:t>𝜎_𝑘</a:t>
                </a:r>
                <a:endParaRPr kumimoji="1" lang="ko-Kore-DE" altLang="en-US" b="1" dirty="0"/>
              </a:p>
            </p:txBody>
          </p:sp>
        </mc:Fallback>
      </mc:AlternateContent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58889-3B09-A442-B9D2-39C0EA97558F}" type="slidenum">
              <a:rPr kumimoji="1" lang="ko-Kore-DE" altLang="en-US" smtClean="0"/>
              <a:t>9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4210976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1" y="5017794"/>
            <a:ext cx="8061325" cy="273345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1" y="5744939"/>
            <a:ext cx="8061325" cy="193899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ko-KR" altLang="en-US" dirty="0"/>
              <a:t>클릭하여 마스터 부제목 스타일 편집</a:t>
            </a:r>
            <a:endParaRPr lang="de-DE" dirty="0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7" descr="TU_Logo_lang_RGB_rot_PPT-2">
            <a:extLst>
              <a:ext uri="{FF2B5EF4-FFF2-40B4-BE49-F238E27FC236}">
                <a16:creationId xmlns:a16="http://schemas.microsoft.com/office/drawing/2014/main" id="{D12A74F8-C6E8-FB4E-A81D-18EA9FDF9EC4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alphaModFix/>
          </a:blip>
          <a:srcRect/>
          <a:stretch>
            <a:fillRect/>
          </a:stretch>
        </p:blipFill>
        <p:spPr bwMode="auto">
          <a:xfrm>
            <a:off x="6345044" y="237838"/>
            <a:ext cx="814476" cy="453537"/>
          </a:xfrm>
          <a:prstGeom prst="rect">
            <a:avLst/>
          </a:prstGeom>
          <a:noFill/>
        </p:spPr>
      </p:pic>
      <p:pic>
        <p:nvPicPr>
          <p:cNvPr id="8" name="그림 7" descr="텍스트이(가) 표시된 사진&#10;&#10;자동 생성된 설명">
            <a:extLst>
              <a:ext uri="{FF2B5EF4-FFF2-40B4-BE49-F238E27FC236}">
                <a16:creationId xmlns:a16="http://schemas.microsoft.com/office/drawing/2014/main" id="{0944FE9E-A581-374E-9E06-50137415F01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75321" y="219098"/>
            <a:ext cx="1467598" cy="41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033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14499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40" y="1717675"/>
            <a:ext cx="273345" cy="427355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480761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652105"/>
            <a:ext cx="8061325" cy="277576"/>
          </a:xfrm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268762"/>
            <a:ext cx="8061325" cy="3641725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 dirty="0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2FA06901-B8C3-8543-9A26-05DE47D5C8C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01081" y="274959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5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B1D6291-896B-DC4F-BD2C-C5672D698B71}" type="slidenum">
              <a:rPr kumimoji="1" lang="ko-Kore-DE" altLang="en-US" smtClean="0"/>
              <a:pPr/>
              <a:t>‹#›</a:t>
            </a:fld>
            <a:endParaRPr kumimoji="1" lang="ko-Kore-DE" altLang="en-US" dirty="0"/>
          </a:p>
        </p:txBody>
      </p:sp>
    </p:spTree>
    <p:extLst>
      <p:ext uri="{BB962C8B-B14F-4D97-AF65-F5344CB8AC3E}">
        <p14:creationId xmlns:p14="http://schemas.microsoft.com/office/powerpoint/2010/main" val="4025702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3080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81485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1" y="2349502"/>
            <a:ext cx="3954463" cy="364172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2"/>
            <a:ext cx="3954462" cy="364172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883577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44294"/>
            <a:ext cx="8229600" cy="273345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491432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25005728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1853971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1170477"/>
            <a:ext cx="3008313" cy="26462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769747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102715"/>
            <a:ext cx="5486400" cy="26462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ko-KR" altLang="en-US"/>
              <a:t>마스터 제목 스타일 편집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ko-KR" altLang="en-US"/>
              <a:t>그림을 추가하려면 아이콘을 클릭하십시오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1" y="6372225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kumimoji="1" lang="ko-Kore-DE" alt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301081" y="274959"/>
            <a:ext cx="6624638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</p:spTree>
    <p:extLst>
      <p:ext uri="{BB962C8B-B14F-4D97-AF65-F5344CB8AC3E}">
        <p14:creationId xmlns:p14="http://schemas.microsoft.com/office/powerpoint/2010/main" val="3748395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1" y="647680"/>
            <a:ext cx="8061325" cy="28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1" y="1324523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 </a:t>
            </a:r>
            <a:r>
              <a:rPr lang="de-DE" dirty="0" err="1"/>
              <a:t>durck</a:t>
            </a:r>
            <a:r>
              <a:rPr lang="de-DE" dirty="0"/>
              <a:t> Klicken hinzufügen</a:t>
            </a:r>
          </a:p>
          <a:p>
            <a:pPr lvl="1"/>
            <a:r>
              <a:rPr lang="de-DE" dirty="0" err="1"/>
              <a:t>Xxx</a:t>
            </a:r>
            <a:endParaRPr lang="de-DE" dirty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301081" y="274959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750">
                <a:solidFill>
                  <a:schemeClr val="accent1"/>
                </a:solidFill>
              </a:defRPr>
            </a:lvl1pPr>
          </a:lstStyle>
          <a:p>
            <a:fld id="{1B1D6291-896B-DC4F-BD2C-C5672D698B71}" type="slidenum">
              <a:rPr kumimoji="1" lang="ko-Kore-DE" altLang="en-US" smtClean="0"/>
              <a:t>‹#›</a:t>
            </a:fld>
            <a:endParaRPr kumimoji="1" lang="ko-Kore-DE" altLang="en-US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U_Logo_lang_RGB_rot_PPT-2">
            <a:extLst>
              <a:ext uri="{FF2B5EF4-FFF2-40B4-BE49-F238E27FC236}">
                <a16:creationId xmlns:a16="http://schemas.microsoft.com/office/drawing/2014/main" id="{692E98F1-F64E-3543-8163-53628E4DE75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0" cstate="print">
            <a:alphaModFix/>
          </a:blip>
          <a:srcRect/>
          <a:stretch>
            <a:fillRect/>
          </a:stretch>
        </p:blipFill>
        <p:spPr bwMode="auto">
          <a:xfrm>
            <a:off x="6345044" y="237838"/>
            <a:ext cx="814476" cy="453537"/>
          </a:xfrm>
          <a:prstGeom prst="rect">
            <a:avLst/>
          </a:prstGeom>
          <a:noFill/>
        </p:spPr>
      </p:pic>
      <p:pic>
        <p:nvPicPr>
          <p:cNvPr id="7" name="그림 6" descr="텍스트이(가) 표시된 사진&#10;&#10;자동 생성된 설명">
            <a:extLst>
              <a:ext uri="{FF2B5EF4-FFF2-40B4-BE49-F238E27FC236}">
                <a16:creationId xmlns:a16="http://schemas.microsoft.com/office/drawing/2014/main" id="{923BFCEC-1556-D34D-A1C8-BD089DA7250F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375321" y="219098"/>
            <a:ext cx="1467598" cy="41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2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 b="0" i="0">
          <a:solidFill>
            <a:schemeClr val="accent6">
              <a:lumMod val="50000"/>
            </a:schemeClr>
          </a:solidFill>
          <a:latin typeface="+mj-lt"/>
          <a:ea typeface="+mj-ea"/>
          <a:cs typeface="Calibri" panose="020F0502020204030204" pitchFamily="34" charset="0"/>
        </a:defRPr>
      </a:lvl1pPr>
      <a:lvl2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lnSpc>
          <a:spcPts val="1650"/>
        </a:lnSpc>
        <a:spcBef>
          <a:spcPct val="0"/>
        </a:spcBef>
        <a:spcAft>
          <a:spcPct val="0"/>
        </a:spcAft>
        <a:defRPr sz="105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88169" indent="-18335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05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894160" indent="-171450" algn="l" rtl="0" eaLnBrk="1" fontAlgn="base" hangingPunct="1">
        <a:spcBef>
          <a:spcPct val="20000"/>
        </a:spcBef>
        <a:spcAft>
          <a:spcPct val="0"/>
        </a:spcAft>
        <a:buChar char="•"/>
        <a:defRPr sz="1050">
          <a:solidFill>
            <a:schemeClr val="tx1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har char="–"/>
        <a:defRPr sz="1050">
          <a:solidFill>
            <a:schemeClr val="tx1"/>
          </a:solidFill>
          <a:latin typeface="+mn-lt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har char="»"/>
        <a:defRPr sz="1050">
          <a:solidFill>
            <a:schemeClr val="tx1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05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05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05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05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bigclassaction.com/articles/privacy-class-action-lawsuit-driver-s-protection-act/interview-privacy-class-action-lawsuit-driver-s-21874.html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0.png"/><Relationship Id="rId10" Type="http://schemas.openxmlformats.org/officeDocument/2006/relationships/image" Target="../media/image26.pn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0.png"/><Relationship Id="rId11" Type="http://schemas.openxmlformats.org/officeDocument/2006/relationships/image" Target="../media/image31.png"/><Relationship Id="rId10" Type="http://schemas.openxmlformats.org/officeDocument/2006/relationships/image" Target="../media/image30.png"/><Relationship Id="rId9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13.emf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emf"/><Relationship Id="rId5" Type="http://schemas.openxmlformats.org/officeDocument/2006/relationships/image" Target="../media/image14.emf"/><Relationship Id="rId4" Type="http://schemas.openxmlformats.org/officeDocument/2006/relationships/image" Target="../media/image10.emf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70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8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0.png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 descr="텍스트, 병, 표지판이(가) 표시된 사진&#10;&#10;자동 생성된 설명">
            <a:extLst>
              <a:ext uri="{FF2B5EF4-FFF2-40B4-BE49-F238E27FC236}">
                <a16:creationId xmlns:a16="http://schemas.microsoft.com/office/drawing/2014/main" id="{72E5CA37-F52A-7949-B9ED-FF1336C8F5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23353"/>
          <a:stretch/>
        </p:blipFill>
        <p:spPr>
          <a:xfrm>
            <a:off x="1" y="890649"/>
            <a:ext cx="9149404" cy="4619501"/>
          </a:xfrm>
          <a:prstGeom prst="rect">
            <a:avLst/>
          </a:prstGeom>
        </p:spPr>
      </p:pic>
      <p:sp>
        <p:nvSpPr>
          <p:cNvPr id="3" name="부제목 2">
            <a:extLst>
              <a:ext uri="{FF2B5EF4-FFF2-40B4-BE49-F238E27FC236}">
                <a16:creationId xmlns:a16="http://schemas.microsoft.com/office/drawing/2014/main" id="{832009BA-C3B5-4B4B-B657-01453E3AC1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633" y="5649849"/>
            <a:ext cx="8061325" cy="1085041"/>
          </a:xfrm>
        </p:spPr>
        <p:txBody>
          <a:bodyPr/>
          <a:lstStyle/>
          <a:p>
            <a:pPr algn="ctr"/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*</a:t>
            </a:r>
            <a:r>
              <a:rPr lang="en-US" altLang="ko-Kore-DE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,† </a:t>
            </a:r>
            <a:r>
              <a:rPr kumimoji="1" lang="en-US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Muah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Kim, *</a:t>
            </a:r>
            <a:r>
              <a:rPr kumimoji="1" lang="en-US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Onur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</a:t>
            </a:r>
            <a:r>
              <a:rPr kumimoji="1" lang="en-US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Günlü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, and </a:t>
            </a:r>
            <a:r>
              <a:rPr lang="en-US" altLang="ko-Kore-DE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†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Rafael Sch</a:t>
            </a:r>
            <a:r>
              <a:rPr kumimoji="1"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ae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fer</a:t>
            </a:r>
          </a:p>
          <a:p>
            <a:pPr algn="ctr"/>
            <a:endParaRPr kumimoji="1" lang="en-US" altLang="ko-Kore-DE" sz="1400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  <a:p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*Department of Electrical Engineering and Computer Science, </a:t>
            </a:r>
            <a:r>
              <a:rPr kumimoji="1" lang="en-US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echnische</a:t>
            </a:r>
            <a:r>
              <a:rPr kumimoji="1" lang="en-US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Universität Berlin, Germany</a:t>
            </a:r>
          </a:p>
          <a:p>
            <a:r>
              <a:rPr lang="en-US" altLang="ko-Kore-DE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†</a:t>
            </a:r>
            <a:r>
              <a:rPr lang="de-DE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Chair</a:t>
            </a:r>
            <a:r>
              <a:rPr lang="de-DE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 </a:t>
            </a:r>
            <a:r>
              <a:rPr lang="de-DE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of</a:t>
            </a:r>
            <a:r>
              <a:rPr lang="de-DE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Communications Engineering </a:t>
            </a:r>
            <a:r>
              <a:rPr lang="de-DE" altLang="ko-Kore-DE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and</a:t>
            </a:r>
            <a:r>
              <a:rPr lang="de-DE" altLang="ko-Kor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Security, Universität Siegen, Germany</a:t>
            </a:r>
          </a:p>
          <a:p>
            <a:endParaRPr kumimoji="1" lang="ko-Kore-DE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CB78383F-D8D7-404C-B55B-9C39A67B0A10}"/>
              </a:ext>
            </a:extLst>
          </p:cNvPr>
          <p:cNvSpPr/>
          <p:nvPr/>
        </p:nvSpPr>
        <p:spPr bwMode="auto">
          <a:xfrm>
            <a:off x="-6771" y="3716141"/>
            <a:ext cx="9245774" cy="1923803"/>
          </a:xfrm>
          <a:prstGeom prst="rect">
            <a:avLst/>
          </a:prstGeom>
          <a:solidFill>
            <a:schemeClr val="bg1">
              <a:alpha val="82407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altLang="ko-Kore-DE" sz="2000" dirty="0" err="1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Federated</a:t>
            </a:r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 Learning </a:t>
            </a:r>
            <a:r>
              <a:rPr lang="de-DE" altLang="ko-Kore-DE" sz="2000" dirty="0" err="1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with</a:t>
            </a:r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 </a:t>
            </a:r>
            <a:r>
              <a:rPr lang="de-DE" altLang="ko-Kore-DE" sz="2000" dirty="0" err="1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Local</a:t>
            </a:r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 Differential Privacy:</a:t>
            </a:r>
          </a:p>
          <a:p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Trade-offs </a:t>
            </a:r>
            <a:r>
              <a:rPr lang="de-DE" altLang="ko-Kore-DE" sz="2000" dirty="0" err="1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between</a:t>
            </a:r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 Privacy, Utility, </a:t>
            </a:r>
            <a:r>
              <a:rPr lang="de-DE" altLang="ko-Kore-DE" sz="2000" dirty="0" err="1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and</a:t>
            </a:r>
            <a:r>
              <a:rPr lang="de-DE" altLang="ko-Kore-DE" sz="20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 Communication</a:t>
            </a:r>
          </a:p>
          <a:p>
            <a:endParaRPr lang="de-DE" altLang="ko-Kore-DE" sz="1800" dirty="0">
              <a:solidFill>
                <a:schemeClr val="accent1">
                  <a:lumMod val="50000"/>
                </a:schemeClr>
              </a:solidFill>
              <a:latin typeface="Helvetica" pitchFamily="2" charset="0"/>
            </a:endParaRPr>
          </a:p>
          <a:p>
            <a:r>
              <a:rPr kumimoji="1" lang="en-US" altLang="ko-Kore-DE" sz="1600" dirty="0">
                <a:solidFill>
                  <a:schemeClr val="accent1">
                    <a:lumMod val="50000"/>
                  </a:schemeClr>
                </a:solidFill>
                <a:latin typeface="Helvetica" pitchFamily="2" charset="0"/>
              </a:rPr>
              <a:t>ICASSP 2021</a:t>
            </a:r>
            <a:endParaRPr lang="de-DE" altLang="ko-Kore-DE" sz="1600" dirty="0">
              <a:solidFill>
                <a:schemeClr val="accent1">
                  <a:lumMod val="50000"/>
                </a:schemeClr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9382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15354EC-9A7E-A146-B969-50564A9D2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7" y="429067"/>
            <a:ext cx="4332115" cy="294953"/>
          </a:xfrm>
        </p:spPr>
        <p:txBody>
          <a:bodyPr/>
          <a:lstStyle/>
          <a:p>
            <a:r>
              <a:rPr kumimoji="1" lang="en-US" altLang="ko-Kore-DE" sz="2000" dirty="0"/>
              <a:t>Theoretical Analysis: Privacy</a:t>
            </a:r>
            <a:endParaRPr kumimoji="1" lang="ko-Kore-DE" alt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/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ko-Kore-DE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ser </a:t>
                </a:r>
                <a14:m>
                  <m:oMath xmlns:m="http://schemas.openxmlformats.org/officeDocument/2006/math">
                    <m:r>
                      <a:rPr kumimoji="1" lang="en-US" altLang="ko-KR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kumimoji="1" lang="ko-Kore-DE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blipFill>
                <a:blip r:embed="rId6"/>
                <a:stretch>
                  <a:fillRect b="-13043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" name="그림 101">
            <a:extLst>
              <a:ext uri="{FF2B5EF4-FFF2-40B4-BE49-F238E27FC236}">
                <a16:creationId xmlns:a16="http://schemas.microsoft.com/office/drawing/2014/main" id="{366C099D-D0EC-474E-8AF4-01467B435E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2487" y="1874227"/>
            <a:ext cx="3262646" cy="249359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직사각형 14">
                <a:extLst>
                  <a:ext uri="{FF2B5EF4-FFF2-40B4-BE49-F238E27FC236}">
                    <a16:creationId xmlns:a16="http://schemas.microsoft.com/office/drawing/2014/main" id="{74E1BF17-3EB8-FA45-AD9D-226D3BA60B2E}"/>
                  </a:ext>
                </a:extLst>
              </p:cNvPr>
              <p:cNvSpPr/>
              <p:nvPr/>
            </p:nvSpPr>
            <p:spPr>
              <a:xfrm>
                <a:off x="4752487" y="4401349"/>
                <a:ext cx="3942570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1" lang="en-US" altLang="ko-KR" sz="1050" dirty="0">
                    <a:latin typeface="Cambria" panose="02040503050406030204" pitchFamily="18" charset="0"/>
                  </a:rPr>
                  <a:t>Parameters: </a:t>
                </a:r>
                <a14:m>
                  <m:oMath xmlns:m="http://schemas.openxmlformats.org/officeDocument/2006/math"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</m:t>
                    </m:r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100, </m:t>
                    </m:r>
                    <m:sSub>
                      <m:sSubPr>
                        <m:ctrlP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−4</m:t>
                        </m:r>
                      </m:sup>
                    </m:sSup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R" sz="1050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05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  <m:t>−3</m:t>
                        </m:r>
                      </m:sup>
                    </m:sSup>
                  </m:oMath>
                </a14:m>
                <a:endParaRPr kumimoji="1" lang="en-US" altLang="ko-KR" sz="1050" b="0" i="1" dirty="0">
                  <a:latin typeface="Cambria Math" panose="02040503050406030204" pitchFamily="18" charset="0"/>
                </a:endParaRPr>
              </a:p>
              <a:p>
                <a:pPr algn="just"/>
                <a14:m>
                  <m:oMath xmlns:m="http://schemas.openxmlformats.org/officeDocument/2006/math"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𝑓𝑜𝑟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𝑎𝑙𝑙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𝑘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1,2,…, 100, 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𝑑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05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05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050" i="1">
                            <a:latin typeface="Cambria Math" panose="02040503050406030204" pitchFamily="18" charset="0"/>
                          </a:rPr>
                          <m:t>4</m:t>
                        </m:r>
                      </m:sup>
                    </m:sSup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𝜇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1</m:t>
                    </m:r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𝜆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1</m:t>
                    </m:r>
                    <m:r>
                      <a:rPr kumimoji="1" lang="en-US" altLang="ko-KR" sz="1050" b="0" i="1" smtClean="0">
                        <a:latin typeface="Cambria Math" panose="02040503050406030204" pitchFamily="18" charset="0"/>
                      </a:rPr>
                      <m:t>, </m:t>
                    </m:r>
                  </m:oMath>
                </a14:m>
                <a:r>
                  <a:rPr kumimoji="1" lang="en-US" altLang="ko-KR" sz="1050" b="0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𝐶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1, 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𝑎𝑛𝑑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𝐺</m:t>
                    </m:r>
                    <m:r>
                      <a:rPr kumimoji="1" lang="en-US" altLang="ko-KR" sz="1050" i="1">
                        <a:latin typeface="Cambria Math" panose="02040503050406030204" pitchFamily="18" charset="0"/>
                      </a:rPr>
                      <m:t>=5.</m:t>
                    </m:r>
                  </m:oMath>
                </a14:m>
                <a:r>
                  <a:rPr kumimoji="1" lang="en-US" altLang="ko-KR" sz="1050" i="1" dirty="0">
                    <a:latin typeface="Cambria Math" panose="020405030504060302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15" name="직사각형 14">
                <a:extLst>
                  <a:ext uri="{FF2B5EF4-FFF2-40B4-BE49-F238E27FC236}">
                    <a16:creationId xmlns:a16="http://schemas.microsoft.com/office/drawing/2014/main" id="{74E1BF17-3EB8-FA45-AD9D-226D3BA60B2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2487" y="4401349"/>
                <a:ext cx="3942570" cy="415498"/>
              </a:xfrm>
              <a:prstGeom prst="rect">
                <a:avLst/>
              </a:prstGeom>
              <a:blipFill>
                <a:blip r:embed="rId8"/>
                <a:stretch>
                  <a:fillRect b="-2941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직사각형 17">
            <a:extLst>
              <a:ext uri="{FF2B5EF4-FFF2-40B4-BE49-F238E27FC236}">
                <a16:creationId xmlns:a16="http://schemas.microsoft.com/office/drawing/2014/main" id="{0AC5005A-2E6F-094E-8AD9-11065E7469AA}"/>
              </a:ext>
            </a:extLst>
          </p:cNvPr>
          <p:cNvSpPr/>
          <p:nvPr/>
        </p:nvSpPr>
        <p:spPr>
          <a:xfrm>
            <a:off x="0" y="6198590"/>
            <a:ext cx="89185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altLang="ko-Kore-DE" sz="800" dirty="0"/>
              <a:t>[5] C. </a:t>
            </a:r>
            <a:r>
              <a:rPr lang="de-DE" altLang="ko-Kore-DE" sz="800" dirty="0" err="1"/>
              <a:t>Dwork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A. Roth, “The </a:t>
            </a:r>
            <a:r>
              <a:rPr lang="de-DE" altLang="ko-Kore-DE" sz="800" dirty="0" err="1"/>
              <a:t>algorithmic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foundations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of</a:t>
            </a:r>
            <a:r>
              <a:rPr lang="de-DE" altLang="ko-Kore-DE" sz="800" dirty="0"/>
              <a:t> differential </a:t>
            </a:r>
            <a:r>
              <a:rPr lang="de-DE" altLang="ko-Kore-DE" sz="800" dirty="0" err="1"/>
              <a:t>privacy</a:t>
            </a:r>
            <a:r>
              <a:rPr lang="de-DE" altLang="ko-Kore-DE" sz="800" dirty="0"/>
              <a:t>,” </a:t>
            </a:r>
            <a:r>
              <a:rPr lang="de-DE" altLang="ko-Kore-DE" sz="800" dirty="0" err="1"/>
              <a:t>Found</a:t>
            </a:r>
            <a:r>
              <a:rPr lang="de-DE" altLang="ko-Kore-DE" sz="800" dirty="0"/>
              <a:t>. Trends Theor. Comp. </a:t>
            </a:r>
            <a:r>
              <a:rPr lang="de-DE" altLang="ko-Kore-DE" sz="800" dirty="0" err="1"/>
              <a:t>Sci</a:t>
            </a:r>
            <a:r>
              <a:rPr lang="de-DE" altLang="ko-Kore-DE" sz="800" dirty="0"/>
              <a:t>., vol. 9, </a:t>
            </a:r>
            <a:r>
              <a:rPr lang="de-DE" altLang="ko-Kore-DE" sz="800" dirty="0" err="1"/>
              <a:t>no</a:t>
            </a:r>
            <a:r>
              <a:rPr lang="de-DE" altLang="ko-Kore-DE" sz="800" dirty="0"/>
              <a:t>. 3-4, pp. 211–407, 2014.</a:t>
            </a:r>
          </a:p>
          <a:p>
            <a:pPr algn="l"/>
            <a:r>
              <a:rPr kumimoji="1" lang="en-US" altLang="ko-Kore-DE" sz="800" dirty="0"/>
              <a:t>[7]</a:t>
            </a:r>
            <a:r>
              <a:rPr lang="de-DE" altLang="ko-Kore-DE" sz="800" dirty="0"/>
              <a:t>  M. Abadi, A. Chu, I. </a:t>
            </a:r>
            <a:r>
              <a:rPr lang="de-DE" altLang="ko-Kore-DE" sz="800" dirty="0" err="1"/>
              <a:t>Goodfellow</a:t>
            </a:r>
            <a:r>
              <a:rPr lang="de-DE" altLang="ko-Kore-DE" sz="800" dirty="0"/>
              <a:t>, H B. </a:t>
            </a:r>
            <a:r>
              <a:rPr lang="de-DE" altLang="ko-Kore-DE" sz="800" dirty="0" err="1"/>
              <a:t>McMahan</a:t>
            </a:r>
            <a:r>
              <a:rPr lang="de-DE" altLang="ko-Kore-DE" sz="800" dirty="0"/>
              <a:t>, I. </a:t>
            </a:r>
            <a:r>
              <a:rPr lang="de-DE" altLang="ko-Kore-DE" sz="800" dirty="0" err="1"/>
              <a:t>Mironov</a:t>
            </a:r>
            <a:r>
              <a:rPr lang="de-DE" altLang="ko-Kore-DE" sz="800" dirty="0"/>
              <a:t>, K. </a:t>
            </a:r>
            <a:r>
              <a:rPr lang="de-DE" altLang="ko-Kore-DE" sz="800" dirty="0" err="1"/>
              <a:t>Talwar</a:t>
            </a:r>
            <a:r>
              <a:rPr lang="de-DE" altLang="ko-Kore-DE" sz="800" dirty="0"/>
              <a:t>,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L. Zhang, “</a:t>
            </a:r>
            <a:r>
              <a:rPr lang="de-DE" altLang="ko-Kore-DE" sz="800" dirty="0" err="1"/>
              <a:t>Deep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learning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with</a:t>
            </a:r>
            <a:r>
              <a:rPr lang="de-DE" altLang="ko-Kore-DE" sz="800" dirty="0"/>
              <a:t> differential </a:t>
            </a:r>
            <a:r>
              <a:rPr lang="de-DE" altLang="ko-Kore-DE" sz="800" dirty="0" err="1"/>
              <a:t>privacy</a:t>
            </a:r>
            <a:r>
              <a:rPr lang="de-DE" altLang="ko-Kore-DE" sz="800" dirty="0"/>
              <a:t>,” in ACM </a:t>
            </a:r>
            <a:r>
              <a:rPr lang="de-DE" altLang="ko-Kore-DE" sz="800" dirty="0" err="1"/>
              <a:t>Conf</a:t>
            </a:r>
            <a:r>
              <a:rPr lang="de-DE" altLang="ko-Kore-DE" sz="800" dirty="0"/>
              <a:t>. </a:t>
            </a:r>
            <a:r>
              <a:rPr lang="de-DE" altLang="ko-Kore-DE" sz="800" dirty="0" err="1"/>
              <a:t>Comput</a:t>
            </a:r>
            <a:r>
              <a:rPr lang="de-DE" altLang="ko-Kore-DE" sz="800" dirty="0"/>
              <a:t>. </a:t>
            </a:r>
            <a:r>
              <a:rPr lang="de-DE" altLang="ko-Kore-DE" sz="800" dirty="0" err="1"/>
              <a:t>Commun</a:t>
            </a:r>
            <a:r>
              <a:rPr lang="de-DE" altLang="ko-Kore-DE" sz="800" dirty="0"/>
              <a:t>. Security, Vienna, Austria, </a:t>
            </a:r>
            <a:r>
              <a:rPr lang="de-DE" altLang="ko-Kore-DE" sz="800" dirty="0" err="1"/>
              <a:t>Oct</a:t>
            </a:r>
            <a:r>
              <a:rPr lang="de-DE" altLang="ko-Kore-DE" sz="800" dirty="0"/>
              <a:t>. 2016, pp. 308–318.</a:t>
            </a:r>
          </a:p>
          <a:p>
            <a:pPr algn="l"/>
            <a:r>
              <a:rPr lang="de-DE" altLang="ko-Kore-DE" sz="800" dirty="0"/>
              <a:t>[8] P. </a:t>
            </a:r>
            <a:r>
              <a:rPr lang="de-DE" altLang="ko-Kore-DE" sz="800" dirty="0" err="1"/>
              <a:t>Kairouz</a:t>
            </a:r>
            <a:r>
              <a:rPr lang="de-DE" altLang="ko-Kore-DE" sz="800" dirty="0"/>
              <a:t>, S. Oh,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P. </a:t>
            </a:r>
            <a:r>
              <a:rPr lang="de-DE" altLang="ko-Kore-DE" sz="800" dirty="0" err="1"/>
              <a:t>Viswanath</a:t>
            </a:r>
            <a:r>
              <a:rPr lang="de-DE" altLang="ko-Kore-DE" sz="800" dirty="0"/>
              <a:t>, “The </a:t>
            </a:r>
            <a:r>
              <a:rPr lang="de-DE" altLang="ko-Kore-DE" sz="800" dirty="0" err="1"/>
              <a:t>composition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theorem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for</a:t>
            </a:r>
            <a:r>
              <a:rPr lang="de-DE" altLang="ko-Kore-DE" sz="800" dirty="0"/>
              <a:t> differential </a:t>
            </a:r>
            <a:r>
              <a:rPr lang="de-DE" altLang="ko-Kore-DE" sz="800" dirty="0" err="1"/>
              <a:t>privacy</a:t>
            </a:r>
            <a:r>
              <a:rPr lang="de-DE" altLang="ko-Kore-DE" sz="800" dirty="0"/>
              <a:t>,” in Int. </a:t>
            </a:r>
            <a:r>
              <a:rPr lang="de-DE" altLang="ko-Kore-DE" sz="800" dirty="0" err="1"/>
              <a:t>Conf</a:t>
            </a:r>
            <a:r>
              <a:rPr lang="de-DE" altLang="ko-Kore-DE" sz="800" dirty="0"/>
              <a:t>. Mach. </a:t>
            </a:r>
            <a:r>
              <a:rPr lang="de-DE" altLang="ko-Kore-DE" sz="800" dirty="0" err="1"/>
              <a:t>Learn</a:t>
            </a:r>
            <a:r>
              <a:rPr lang="de-DE" altLang="ko-Kore-DE" sz="800" dirty="0"/>
              <a:t>., Lille, France, </a:t>
            </a:r>
            <a:r>
              <a:rPr lang="de-DE" altLang="ko-Kore-DE" sz="800" dirty="0" err="1"/>
              <a:t>July</a:t>
            </a:r>
            <a:r>
              <a:rPr lang="de-DE" altLang="ko-Kore-DE" sz="800" dirty="0"/>
              <a:t> 2015, pp. 1376–1385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E9EB21-5B19-D244-A4D0-1D14FF6C46C4}"/>
              </a:ext>
            </a:extLst>
          </p:cNvPr>
          <p:cNvSpPr txBox="1"/>
          <p:nvPr/>
        </p:nvSpPr>
        <p:spPr>
          <a:xfrm>
            <a:off x="438940" y="1111101"/>
            <a:ext cx="66760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ko-Kore-DE" sz="1600" b="1" dirty="0"/>
              <a:t>Comparison with other </a:t>
            </a:r>
            <a:r>
              <a:rPr kumimoji="1" lang="en-US" altLang="ko-KR" sz="1600" b="1" dirty="0"/>
              <a:t>privacy</a:t>
            </a:r>
            <a:r>
              <a:rPr kumimoji="1" lang="ko-KR" altLang="en-US" sz="1600" b="1" dirty="0"/>
              <a:t> </a:t>
            </a:r>
            <a:r>
              <a:rPr kumimoji="1" lang="en-US" altLang="ko-KR" sz="1600" b="1" dirty="0"/>
              <a:t>accounting</a:t>
            </a:r>
            <a:r>
              <a:rPr kumimoji="1" lang="ko-KR" altLang="en-US" sz="1600" b="1" dirty="0"/>
              <a:t> </a:t>
            </a:r>
            <a:r>
              <a:rPr kumimoji="1" lang="en-US" altLang="ko-Kore-DE" sz="1600" b="1" dirty="0"/>
              <a:t>schemes</a:t>
            </a:r>
            <a:endParaRPr kumimoji="1" lang="ko-Kore-DE" altLang="en-US" sz="16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모서리가 둥근 직사각형 15">
                <a:extLst>
                  <a:ext uri="{FF2B5EF4-FFF2-40B4-BE49-F238E27FC236}">
                    <a16:creationId xmlns:a16="http://schemas.microsoft.com/office/drawing/2014/main" id="{A8B94D23-9C88-2440-B267-A19B38F3EE7F}"/>
                  </a:ext>
                </a:extLst>
              </p:cNvPr>
              <p:cNvSpPr/>
              <p:nvPr/>
            </p:nvSpPr>
            <p:spPr bwMode="auto">
              <a:xfrm>
                <a:off x="1121592" y="5241420"/>
                <a:ext cx="6900816" cy="584775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  <a:alpha val="73211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6200" tIns="38100" rIns="76200" bIns="38100" numCol="1" rtlCol="0" anchor="ctr" anchorCtr="0" compatLnSpc="1">
                <a:prstTxWarp prst="textNoShape">
                  <a:avLst/>
                </a:prstTxWarp>
              </a:bodyPr>
              <a:lstStyle/>
              <a:p>
                <a:r>
                  <a:rPr lang="en-US" altLang="ko-Kore-DE" sz="1400" dirty="0">
                    <a:latin typeface="Helvetica" pitchFamily="2" charset="0"/>
                  </a:rPr>
                  <a:t>The proposed scheme accounts the privacy </a:t>
                </a:r>
                <a:r>
                  <a:rPr lang="en-US" altLang="ko-Kore-DE" sz="1400" b="1" dirty="0">
                    <a:latin typeface="Helvetica" pitchFamily="2" charset="0"/>
                  </a:rPr>
                  <a:t>the tightest</a:t>
                </a:r>
                <a:r>
                  <a:rPr lang="en-US" altLang="ko-Kore-DE" sz="1400" dirty="0">
                    <a:latin typeface="Helvetica" pitchFamily="2" charset="0"/>
                  </a:rPr>
                  <a:t>, which results in a smaller noise leve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R" sz="14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US" altLang="ko-Kore-DE" sz="1400" dirty="0">
                    <a:latin typeface="Helvetica" pitchFamily="2" charset="0"/>
                  </a:rPr>
                  <a:t> to achieve the same </a:t>
                </a:r>
                <a14:m>
                  <m:oMath xmlns:m="http://schemas.openxmlformats.org/officeDocument/2006/math">
                    <m:d>
                      <m:dPr>
                        <m:ctrlPr>
                          <a:rPr kumimoji="1" lang="en-US" altLang="ko-KR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  <m:sub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kumimoji="1" lang="en-US" altLang="ko-KR" sz="1400" i="1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lang="en-US" altLang="ko-Kore-DE" sz="1400" dirty="0">
                    <a:latin typeface="Helvetica" pitchFamily="2" charset="0"/>
                  </a:rPr>
                  <a:t>LDP after </a:t>
                </a:r>
                <a14:m>
                  <m:oMath xmlns:m="http://schemas.openxmlformats.org/officeDocument/2006/math">
                    <m:r>
                      <a:rPr lang="en-US" altLang="ko-Kore-DE" sz="1400" i="1" dirty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altLang="ko-Kore-DE" sz="1400" i="1" dirty="0">
                        <a:latin typeface="Cambria Math" panose="02040503050406030204" pitchFamily="18" charset="0"/>
                      </a:rPr>
                      <m:t>=70,000</m:t>
                    </m:r>
                  </m:oMath>
                </a14:m>
                <a:r>
                  <a:rPr lang="en-US" altLang="ko-Kore-DE" sz="1400" dirty="0">
                    <a:latin typeface="Helvetica" pitchFamily="2" charset="0"/>
                  </a:rPr>
                  <a:t> iterations. </a:t>
                </a:r>
              </a:p>
            </p:txBody>
          </p:sp>
        </mc:Choice>
        <mc:Fallback xmlns="">
          <p:sp>
            <p:nvSpPr>
              <p:cNvPr id="16" name="모서리가 둥근 직사각형 15">
                <a:extLst>
                  <a:ext uri="{FF2B5EF4-FFF2-40B4-BE49-F238E27FC236}">
                    <a16:creationId xmlns:a16="http://schemas.microsoft.com/office/drawing/2014/main" id="{A8B94D23-9C88-2440-B267-A19B38F3EE7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21592" y="5241420"/>
                <a:ext cx="6900816" cy="584775"/>
              </a:xfrm>
              <a:prstGeom prst="roundRect">
                <a:avLst/>
              </a:prstGeom>
              <a:blipFill>
                <a:blip r:embed="rId9"/>
                <a:stretch>
                  <a:fillRect b="-8511"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모서리가 둥근 직사각형 16">
            <a:extLst>
              <a:ext uri="{FF2B5EF4-FFF2-40B4-BE49-F238E27FC236}">
                <a16:creationId xmlns:a16="http://schemas.microsoft.com/office/drawing/2014/main" id="{08223764-A3C4-A74B-91A0-EB7757ECCD6B}"/>
              </a:ext>
            </a:extLst>
          </p:cNvPr>
          <p:cNvSpPr/>
          <p:nvPr/>
        </p:nvSpPr>
        <p:spPr bwMode="auto">
          <a:xfrm>
            <a:off x="1409751" y="2996351"/>
            <a:ext cx="802670" cy="361633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3009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p:sp>
        <p:nvSpPr>
          <p:cNvPr id="19" name="모서리가 둥근 직사각형 18">
            <a:extLst>
              <a:ext uri="{FF2B5EF4-FFF2-40B4-BE49-F238E27FC236}">
                <a16:creationId xmlns:a16="http://schemas.microsoft.com/office/drawing/2014/main" id="{65785334-05B1-A249-95BB-B588E7B4FE82}"/>
              </a:ext>
            </a:extLst>
          </p:cNvPr>
          <p:cNvSpPr/>
          <p:nvPr/>
        </p:nvSpPr>
        <p:spPr bwMode="auto">
          <a:xfrm>
            <a:off x="1429043" y="1977907"/>
            <a:ext cx="802670" cy="361633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3009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CF69D172-1F0B-0A41-8DE2-3E466E72BCD0}"/>
              </a:ext>
            </a:extLst>
          </p:cNvPr>
          <p:cNvSpPr/>
          <p:nvPr/>
        </p:nvSpPr>
        <p:spPr bwMode="auto">
          <a:xfrm>
            <a:off x="558156" y="3055753"/>
            <a:ext cx="262112" cy="262112"/>
          </a:xfrm>
          <a:prstGeom prst="ellipse">
            <a:avLst/>
          </a:prstGeom>
          <a:solidFill>
            <a:schemeClr val="accent2">
              <a:alpha val="3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7DF72890-1819-1643-9F54-C35FC908F0D0}"/>
              </a:ext>
            </a:extLst>
          </p:cNvPr>
          <p:cNvSpPr/>
          <p:nvPr/>
        </p:nvSpPr>
        <p:spPr bwMode="auto">
          <a:xfrm>
            <a:off x="550994" y="3738038"/>
            <a:ext cx="262112" cy="262112"/>
          </a:xfrm>
          <a:prstGeom prst="ellipse">
            <a:avLst/>
          </a:prstGeom>
          <a:solidFill>
            <a:schemeClr val="accent2">
              <a:alpha val="3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1F9F9426-8DC7-4A4E-B227-D0FDAD639D12}"/>
              </a:ext>
            </a:extLst>
          </p:cNvPr>
          <p:cNvSpPr/>
          <p:nvPr/>
        </p:nvSpPr>
        <p:spPr bwMode="auto">
          <a:xfrm>
            <a:off x="561335" y="4510420"/>
            <a:ext cx="262112" cy="262112"/>
          </a:xfrm>
          <a:prstGeom prst="ellipse">
            <a:avLst/>
          </a:prstGeom>
          <a:solidFill>
            <a:schemeClr val="accent2">
              <a:alpha val="3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60D848B0-091A-B84C-A82D-439F4BF7880C}"/>
              </a:ext>
            </a:extLst>
          </p:cNvPr>
          <p:cNvSpPr/>
          <p:nvPr/>
        </p:nvSpPr>
        <p:spPr bwMode="auto">
          <a:xfrm>
            <a:off x="614540" y="2043655"/>
            <a:ext cx="262112" cy="262112"/>
          </a:xfrm>
          <a:prstGeom prst="ellipse">
            <a:avLst/>
          </a:prstGeom>
          <a:solidFill>
            <a:schemeClr val="accent2">
              <a:alpha val="3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endParaRPr lang="ko-Kore-DE" altLang="en-US" sz="10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F91193D3-0B2C-8344-9A78-DD4921AE56F3}"/>
                  </a:ext>
                </a:extLst>
              </p:cNvPr>
              <p:cNvSpPr/>
              <p:nvPr/>
            </p:nvSpPr>
            <p:spPr>
              <a:xfrm>
                <a:off x="541337" y="1754479"/>
                <a:ext cx="3658759" cy="31264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l"/>
                <a:r>
                  <a:rPr kumimoji="1" lang="en-US" altLang="ko-KR" sz="1167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roposed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 ≥ 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4</m:t>
                          </m:r>
                          <m:sSubSup>
                            <m:sSubSup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sSubSup>
                                <m:sSubSup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𝜖</m:t>
                                  </m:r>
                                </m:e>
                                <m:sub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func>
                            <m:func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kumimoji="1" lang="en-US" altLang="ko-KR" sz="100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𝜖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num>
                                <m:den>
                                  <m:sSubSup>
                                    <m:sSubSup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𝜖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  <m:sup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</m:den>
                              </m:f>
                              <m:d>
                                <m:d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kumimoji="1" lang="en-US" altLang="ko-KR" sz="1000">
                                          <a:latin typeface="Cambria Math" panose="02040503050406030204" pitchFamily="18" charset="0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(2</m:t>
                                      </m:r>
                                      <m:func>
                                        <m:funcPr>
                                          <m:ctrlP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uncPr>
                                        <m:fName>
                                          <m:r>
                                            <m:rPr>
                                              <m:sty m:val="p"/>
                                            </m:rPr>
                                            <a:rPr kumimoji="1" lang="en-US" altLang="ko-KR" sz="1000">
                                              <a:latin typeface="Cambria Math" panose="02040503050406030204" pitchFamily="18" charset="0"/>
                                            </a:rPr>
                                            <m:t>log</m:t>
                                          </m:r>
                                        </m:fName>
                                        <m:e>
                                          <m:sSubSup>
                                            <m:sSubSupPr>
                                              <m:ctrlPr>
                                                <a:rPr kumimoji="1" lang="en-US" altLang="ko-KR" sz="1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kumimoji="1" lang="en-US" altLang="ko-KR" sz="1000" i="1">
                                                  <a:latin typeface="Cambria Math" panose="02040503050406030204" pitchFamily="18" charset="0"/>
                                                </a:rPr>
                                                <m:t>𝛿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1" lang="en-US" altLang="ko-KR" sz="100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  <m:sup>
                                              <m:r>
                                                <a:rPr kumimoji="1" lang="en-US" altLang="ko-KR" sz="1000" i="1">
                                                  <a:latin typeface="Cambria Math" panose="02040503050406030204" pitchFamily="18" charset="0"/>
                                                </a:rPr>
                                                <m:t>−1</m:t>
                                              </m:r>
                                            </m:sup>
                                          </m:sSubSup>
                                        </m:e>
                                      </m:func>
                                    </m:e>
                                  </m:func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)+1−</m:t>
                                  </m:r>
                                  <m:func>
                                    <m:func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kumimoji="1" lang="en-US" altLang="ko-KR" sz="1000">
                                          <a:latin typeface="Cambria Math" panose="02040503050406030204" pitchFamily="18" charset="0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sSub>
                                        <m:sSubPr>
                                          <m:ctrlP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</a:rPr>
                                            <m:t>𝜖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func>
                                </m:e>
                              </m:d>
                            </m:e>
                          </m:func>
                        </m:e>
                      </m:d>
                    </m:oMath>
                  </m:oMathPara>
                </a14:m>
                <a:endParaRPr kumimoji="1" lang="en-US" altLang="ko-KR" sz="10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kumimoji="1" lang="el-GR" altLang="ko-KR" sz="1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𝒪</m:t>
                      </m:r>
                      <m:d>
                        <m:d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func>
                                <m:func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sSup>
                                    <m:sSup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kumimoji="1" lang="en-US" altLang="ko-KR" sz="1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og</m:t>
                                      </m:r>
                                    </m:e>
                                    <m:sup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fName>
                                <m:e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𝑙𝑜𝑔</m:t>
                                  </m:r>
                                  <m:sSubSup>
                                    <m:sSubSup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  <m:sup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−1</m:t>
                                      </m:r>
                                    </m:sup>
                                  </m:sSubSup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func>
                            </m:num>
                            <m:den>
                              <m:func>
                                <m:func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1" lang="en-US" altLang="ko-KR" sz="100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log</m:t>
                                  </m:r>
                                </m:fName>
                                <m:e>
                                  <m:sSubSup>
                                    <m:sSubSup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  <m:sup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−1</m:t>
                                      </m:r>
                                    </m:sup>
                                  </m:sSubSup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 </m:t>
                                  </m:r>
                                </m:e>
                              </m:func>
                            </m:den>
                          </m:f>
                        </m:e>
                      </m:d>
                    </m:oMath>
                  </m:oMathPara>
                </a14:m>
                <a:endParaRPr kumimoji="1" lang="en-US" altLang="ko-KR" sz="1000" i="1" dirty="0">
                  <a:latin typeface="Cambria Math" panose="02040503050406030204" pitchFamily="18" charset="0"/>
                </a:endParaRPr>
              </a:p>
              <a:p>
                <a:endParaRPr kumimoji="1" lang="en-US" altLang="ko-KR" sz="1000" b="1" dirty="0"/>
              </a:p>
              <a:p>
                <a:pPr algn="l"/>
                <a:r>
                  <a:rPr kumimoji="1" lang="en-US" altLang="ko-KR" sz="1167" b="1" dirty="0"/>
                  <a:t>Moment Accountant </a:t>
                </a:r>
                <a:r>
                  <a:rPr kumimoji="1" lang="en-US" altLang="ko-KR" sz="1167" b="1" dirty="0">
                    <a:solidFill>
                      <a:srgbClr val="D95319"/>
                    </a:solidFill>
                  </a:rPr>
                  <a:t>(MA)</a:t>
                </a:r>
                <a:r>
                  <a:rPr kumimoji="1" lang="en-US" altLang="ko-KR" sz="1167" dirty="0">
                    <a:solidFill>
                      <a:srgbClr val="D95319"/>
                    </a:solidFill>
                  </a:rPr>
                  <a:t> </a:t>
                </a:r>
                <a:r>
                  <a:rPr kumimoji="1" lang="en-US" altLang="ko-KR" sz="1167" dirty="0"/>
                  <a:t>[7]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 ≥ 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4</m:t>
                          </m:r>
                          <m:sSubSup>
                            <m:sSubSup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sSubSup>
                                <m:sSubSup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𝜖</m:t>
                                  </m:r>
                                </m:e>
                                <m:sub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func>
                            <m:func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kumimoji="1" lang="en-US" altLang="ko-KR" sz="100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𝜖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𝒪</m:t>
                              </m:r>
                              <m:d>
                                <m:d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kumimoji="1" lang="en-US" altLang="ko-KR" sz="1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sSubSup>
                                        <m:sSubSupPr>
                                          <m:ctrlP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  <m:sup>
                                          <m:r>
                                            <a:rPr kumimoji="1" lang="en-US" altLang="ko-KR" sz="1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−1</m:t>
                                          </m:r>
                                        </m:sup>
                                      </m:sSubSup>
                                    </m:e>
                                  </m:func>
                                </m:e>
                              </m:d>
                            </m:e>
                          </m:func>
                        </m:e>
                      </m:d>
                    </m:oMath>
                  </m:oMathPara>
                </a14:m>
                <a:br>
                  <a:rPr lang="en-US" altLang="ko-Kore-DE" sz="1000" dirty="0"/>
                </a:br>
                <a:endParaRPr lang="en-US" altLang="ko-Kore-DE" sz="1000" dirty="0"/>
              </a:p>
              <a:p>
                <a:endParaRPr kumimoji="1" lang="en-US" altLang="ko-KR" sz="1000" dirty="0"/>
              </a:p>
              <a:p>
                <a:pPr algn="l"/>
                <a14:m>
                  <m:oMath xmlns:m="http://schemas.openxmlformats.org/officeDocument/2006/math">
                    <m:r>
                      <m:rPr>
                        <m:nor/>
                      </m:rPr>
                      <a:rPr kumimoji="1" lang="en-US" altLang="ko-KR" sz="1167" b="1" dirty="0"/>
                      <m:t>Advanced</m:t>
                    </m:r>
                    <m:r>
                      <m:rPr>
                        <m:nor/>
                      </m:rPr>
                      <a:rPr kumimoji="1" lang="en-US" altLang="ko-KR" sz="1167" b="1" dirty="0"/>
                      <m:t> </m:t>
                    </m:r>
                    <m:r>
                      <m:rPr>
                        <m:nor/>
                      </m:rPr>
                      <a:rPr kumimoji="1" lang="en-US" altLang="ko-KR" sz="1167" b="1" dirty="0"/>
                      <m:t>Composition</m:t>
                    </m:r>
                    <m:r>
                      <m:rPr>
                        <m:nor/>
                      </m:rPr>
                      <a:rPr kumimoji="1" lang="en-US" altLang="ko-KR" sz="1167" b="1" dirty="0"/>
                      <m:t> 1 </m:t>
                    </m:r>
                  </m:oMath>
                </a14:m>
                <a:r>
                  <a:rPr kumimoji="1" lang="en-US" altLang="ko-KR" sz="1167" b="1" dirty="0">
                    <a:solidFill>
                      <a:srgbClr val="FF93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AC1) </a:t>
                </a:r>
                <a:r>
                  <a:rPr kumimoji="1" lang="en-US" altLang="ko-KR" sz="1167" dirty="0">
                    <a:latin typeface="Arial" panose="020B0604020202020204" pitchFamily="34" charset="0"/>
                    <a:cs typeface="Arial" panose="020B0604020202020204" pitchFamily="34" charset="0"/>
                  </a:rPr>
                  <a:t>[5]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 ≥ 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4</m:t>
                          </m:r>
                          <m:sSubSup>
                            <m:sSubSup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⋅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b>
                            <m:sSub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func>
                        <m:func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kumimoji="1" lang="en-US" altLang="ko-KR" sz="100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d>
                            <m:d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num>
                                <m:den>
                                  <m: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e>
                      </m:func>
                    </m:oMath>
                  </m:oMathPara>
                </a14:m>
                <a:endParaRPr lang="en-US" altLang="ko-Kore-DE" sz="1000" dirty="0"/>
              </a:p>
              <a:p>
                <a:endParaRPr kumimoji="1" lang="en-US" altLang="ko-KR" sz="1000" dirty="0"/>
              </a:p>
              <a:p>
                <a:pPr algn="l"/>
                <a:r>
                  <a:rPr kumimoji="1" lang="en-US" altLang="ko-KR" sz="1167" b="1" dirty="0"/>
                  <a:t>Advanced Composition 2 </a:t>
                </a:r>
                <a:r>
                  <a:rPr kumimoji="1" lang="en-US" altLang="ko-KR" sz="1167" b="1" dirty="0">
                    <a:solidFill>
                      <a:srgbClr val="7030A0"/>
                    </a:solidFill>
                  </a:rPr>
                  <a:t>(AC2) </a:t>
                </a:r>
                <a:r>
                  <a:rPr kumimoji="1" lang="en-US" altLang="ko-KR" sz="1167" dirty="0"/>
                  <a:t>[8]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 ≥ 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4</m:t>
                          </m:r>
                          <m:sSubSup>
                            <m:sSubSup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num>
                        <m:den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r>
                        <a:rPr kumimoji="1" lang="en-US" altLang="ko-KR" sz="1000" i="1">
                          <a:latin typeface="Cambria Math" panose="02040503050406030204" pitchFamily="18" charset="0"/>
                        </a:rPr>
                        <m:t>⋅</m:t>
                      </m:r>
                      <m:f>
                        <m:fPr>
                          <m:ctrl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8</m:t>
                          </m:r>
                          <m: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m:rPr>
                              <m:sty m:val="p"/>
                            </m:rPr>
                            <a:rPr kumimoji="1" lang="en-US" altLang="ko-KR" sz="1000" i="1">
                              <a:latin typeface="Cambria Math" panose="02040503050406030204" pitchFamily="18" charset="0"/>
                            </a:rPr>
                            <m:t>log</m:t>
                          </m:r>
                          <m:d>
                            <m:d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f>
                                <m:fPr>
                                  <m:ctrlPr>
                                    <a:rPr kumimoji="1" lang="en-US" altLang="ko-KR" sz="10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𝜖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</m:e>
                                    <m:sub>
                                      <m:r>
                                        <a:rPr kumimoji="1" lang="en-US" altLang="ko-KR" sz="10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num>
                        <m:den>
                          <m:sSubSup>
                            <m:sSubSupPr>
                              <m:ctrlP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e>
                            <m:sub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ko-Kore-DE" altLang="en-US" sz="1000" dirty="0"/>
              </a:p>
            </p:txBody>
          </p:sp>
        </mc:Choice>
        <mc:Fallback xmlns=""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F91193D3-0B2C-8344-9A78-DD4921AE56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337" y="1754479"/>
                <a:ext cx="3658759" cy="312643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81902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/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ko-Kore-DE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ser </a:t>
                </a:r>
                <a14:m>
                  <m:oMath xmlns:m="http://schemas.openxmlformats.org/officeDocument/2006/math">
                    <m:r>
                      <a:rPr kumimoji="1" lang="en-US" altLang="ko-KR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kumimoji="1" lang="ko-Kore-DE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blipFill>
                <a:blip r:embed="rId6"/>
                <a:stretch>
                  <a:fillRect b="-13043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그룹 17">
            <a:extLst>
              <a:ext uri="{FF2B5EF4-FFF2-40B4-BE49-F238E27FC236}">
                <a16:creationId xmlns:a16="http://schemas.microsoft.com/office/drawing/2014/main" id="{4AC0218F-AAA0-6E4C-B36D-F807D8C9D14E}"/>
              </a:ext>
            </a:extLst>
          </p:cNvPr>
          <p:cNvGrpSpPr/>
          <p:nvPr/>
        </p:nvGrpSpPr>
        <p:grpSpPr>
          <a:xfrm>
            <a:off x="453171" y="4369073"/>
            <a:ext cx="4548617" cy="1020023"/>
            <a:chOff x="458321" y="4214164"/>
            <a:chExt cx="4548617" cy="1020023"/>
          </a:xfrm>
        </p:grpSpPr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4745C66-FCD0-8748-B75F-DB19B22229DE}"/>
                </a:ext>
              </a:extLst>
            </p:cNvPr>
            <p:cNvSpPr/>
            <p:nvPr/>
          </p:nvSpPr>
          <p:spPr bwMode="auto">
            <a:xfrm>
              <a:off x="2540247" y="4728752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직사각형 8">
                  <a:extLst>
                    <a:ext uri="{FF2B5EF4-FFF2-40B4-BE49-F238E27FC236}">
                      <a16:creationId xmlns:a16="http://schemas.microsoft.com/office/drawing/2014/main" id="{E5646E2F-FEA7-5B4F-8D75-C85EA9C9077A}"/>
                    </a:ext>
                  </a:extLst>
                </p:cNvPr>
                <p:cNvSpPr/>
                <p:nvPr/>
              </p:nvSpPr>
              <p:spPr>
                <a:xfrm>
                  <a:off x="458321" y="4214164"/>
                  <a:ext cx="4548617" cy="102002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h𝑒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𝑟𝑎𝑛𝑠𝑚𝑖𝑠𝑠𝑖𝑜𝑛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𝑎𝑡𝑒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𝑟</m:t>
                            </m:r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𝑓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𝑢𝑠𝑒𝑟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𝑡h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𝐺𝑎𝑢𝑠𝑠𝑖𝑎𝑛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𝑜𝑖𝑠𝑒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kumimoji="1" lang="en-US" altLang="ko-KR" b="0" i="1" dirty="0"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𝒩</m:t>
                        </m:r>
                        <m:d>
                          <m:dPr>
                            <m:ctrlP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,</m:t>
                            </m:r>
                            <m:sSup>
                              <m:sSupPr>
                                <m:ctrlP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p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sSubSup>
                              <m:sSubSupPr>
                                <m:ctrlP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b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  <m:sup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sSub>
                              <m:sSubPr>
                                <m:ctrlPr>
                                  <a:rPr kumimoji="1" lang="en-US" altLang="ko-KR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R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𝑰</m:t>
                                </m:r>
                              </m:e>
                              <m:sub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𝑎𝑡𝑖𝑠𝑓𝑖𝑒𝑠</m:t>
                        </m:r>
                      </m:oMath>
                    </m:oMathPara>
                  </a14:m>
                  <a:endParaRPr kumimoji="1" lang="en-US" altLang="ko-KR" b="0" i="1" dirty="0"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  <a:p>
                  <a:endParaRPr kumimoji="1" lang="en-US" altLang="ko-KR" sz="700" b="0" i="1" dirty="0"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𝑟</m:t>
                            </m:r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kumimoji="1" lang="en-US" altLang="ko-KR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𝑑</m:t>
                        </m:r>
                        <m:func>
                          <m:func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kumimoji="1" lang="en-US" altLang="ko-KR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kumimoji="1" lang="en-US" altLang="ko-KR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kumimoji="1" lang="en-US" altLang="ko-KR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  <m: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𝑒</m:t>
                                    </m:r>
                                    <m:sSup>
                                      <m:sSupPr>
                                        <m:ctrlP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</m:e>
                                      <m:sup>
                                        <m: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p>
                                    <m:sSub>
                                      <m:sSubPr>
                                        <m:ctrlP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𝜎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num>
                                  <m:den>
                                    <m:rad>
                                      <m:radPr>
                                        <m:degHide m:val="on"/>
                                        <m:ctrlP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kumimoji="1" lang="en-US" altLang="ko-KR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𝑑</m:t>
                                        </m:r>
                                      </m:e>
                                    </m:rad>
                                  </m:den>
                                </m:f>
                              </m:e>
                            </m:d>
                            <m:r>
                              <a:rPr kumimoji="1" lang="ko-KR" alt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 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𝑏𝑖𝑡𝑠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𝑝𝑒𝑟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𝑔𝑟𝑎𝑑𝑖𝑒𝑛𝑡</m:t>
                            </m:r>
                            <m:r>
                              <a:rPr kumimoji="1" lang="en-US" altLang="ko-KR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.</m:t>
                            </m:r>
                          </m:e>
                        </m:func>
                      </m:oMath>
                    </m:oMathPara>
                  </a14:m>
                  <a:endParaRPr lang="ko-Kore-DE" altLang="en-US" dirty="0"/>
                </a:p>
              </p:txBody>
            </p:sp>
          </mc:Choice>
          <mc:Fallback xmlns="">
            <p:sp>
              <p:nvSpPr>
                <p:cNvPr id="9" name="직사각형 8">
                  <a:extLst>
                    <a:ext uri="{FF2B5EF4-FFF2-40B4-BE49-F238E27FC236}">
                      <a16:creationId xmlns:a16="http://schemas.microsoft.com/office/drawing/2014/main" id="{E5646E2F-FEA7-5B4F-8D75-C85EA9C9077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8321" y="4214164"/>
                  <a:ext cx="4548617" cy="1020023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ko-Kore-DE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8" name="제목 1">
            <a:extLst>
              <a:ext uri="{FF2B5EF4-FFF2-40B4-BE49-F238E27FC236}">
                <a16:creationId xmlns:a16="http://schemas.microsoft.com/office/drawing/2014/main" id="{AD13B368-E174-324C-A9F6-95D4231D7688}"/>
              </a:ext>
            </a:extLst>
          </p:cNvPr>
          <p:cNvSpPr txBox="1">
            <a:spLocks/>
          </p:cNvSpPr>
          <p:nvPr/>
        </p:nvSpPr>
        <p:spPr bwMode="auto">
          <a:xfrm>
            <a:off x="541337" y="1005218"/>
            <a:ext cx="8061325" cy="294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 b="0" i="0">
                <a:solidFill>
                  <a:schemeClr val="accent6">
                    <a:lumMod val="75000"/>
                  </a:schemeClr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342900"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685800"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1028700"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371600"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kumimoji="1" lang="en-US" altLang="ko-Kore-DE" sz="2000" kern="0" dirty="0"/>
              <a:t>Theoretical Analysis: Utility and Transmission Rate</a:t>
            </a:r>
            <a:endParaRPr kumimoji="1" lang="ko-Kore-DE" altLang="en-US" sz="2000" kern="0" dirty="0"/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323A4010-C28A-574D-BBDC-1201C71A40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2912" y="1751692"/>
            <a:ext cx="2859399" cy="2012539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83CA440E-1FDA-2240-9DAD-550DAD8F6B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7728" y="3872532"/>
            <a:ext cx="3079604" cy="2063134"/>
          </a:xfrm>
          <a:prstGeom prst="rect">
            <a:avLst/>
          </a:prstGeom>
        </p:spPr>
      </p:pic>
      <p:grpSp>
        <p:nvGrpSpPr>
          <p:cNvPr id="15" name="그룹 14">
            <a:extLst>
              <a:ext uri="{FF2B5EF4-FFF2-40B4-BE49-F238E27FC236}">
                <a16:creationId xmlns:a16="http://schemas.microsoft.com/office/drawing/2014/main" id="{FEE614FD-4E56-C147-A198-5C376F50CF53}"/>
              </a:ext>
            </a:extLst>
          </p:cNvPr>
          <p:cNvGrpSpPr/>
          <p:nvPr/>
        </p:nvGrpSpPr>
        <p:grpSpPr>
          <a:xfrm>
            <a:off x="919074" y="2849386"/>
            <a:ext cx="2786670" cy="743676"/>
            <a:chOff x="929431" y="3003948"/>
            <a:chExt cx="2786670" cy="743676"/>
          </a:xfrm>
        </p:grpSpPr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A7076E7-54F8-844E-9B0B-B133629BB745}"/>
                </a:ext>
              </a:extLst>
            </p:cNvPr>
            <p:cNvSpPr/>
            <p:nvPr/>
          </p:nvSpPr>
          <p:spPr bwMode="auto">
            <a:xfrm>
              <a:off x="929431" y="3433090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13243433-52A2-2C45-9796-5A4A033917F1}"/>
                </a:ext>
              </a:extLst>
            </p:cNvPr>
            <p:cNvSpPr/>
            <p:nvPr/>
          </p:nvSpPr>
          <p:spPr bwMode="auto">
            <a:xfrm>
              <a:off x="2105523" y="3318482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7FBDC0FC-9D10-794A-9A5E-90B37AB2363B}"/>
                </a:ext>
              </a:extLst>
            </p:cNvPr>
            <p:cNvSpPr/>
            <p:nvPr/>
          </p:nvSpPr>
          <p:spPr bwMode="auto">
            <a:xfrm>
              <a:off x="3401567" y="3003948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모서리가 둥근 직사각형 13">
                <a:extLst>
                  <a:ext uri="{FF2B5EF4-FFF2-40B4-BE49-F238E27FC236}">
                    <a16:creationId xmlns:a16="http://schemas.microsoft.com/office/drawing/2014/main" id="{F8E20CCD-61D7-7742-BE16-F71ABEFE56EA}"/>
                  </a:ext>
                </a:extLst>
              </p:cNvPr>
              <p:cNvSpPr/>
              <p:nvPr/>
            </p:nvSpPr>
            <p:spPr bwMode="auto">
              <a:xfrm>
                <a:off x="453172" y="6103826"/>
                <a:ext cx="7628944" cy="487312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  <a:alpha val="73211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6200" tIns="38100" rIns="76200" bIns="38100" numCol="1" rtlCol="0" anchor="ctr" anchorCtr="0" compatLnSpc="1">
                <a:prstTxWarp prst="textNoShape">
                  <a:avLst/>
                </a:prstTxWarp>
              </a:bodyPr>
              <a:lstStyle/>
              <a:p>
                <a:r>
                  <a:rPr lang="en-US" altLang="ko-Kore-DE" sz="1400" b="1" dirty="0">
                    <a:latin typeface="Helvetica" pitchFamily="2" charset="0"/>
                  </a:rPr>
                  <a:t>Trade-offs</a:t>
                </a:r>
                <a:r>
                  <a:rPr lang="en-US" altLang="ko-Kore-DE" sz="1400" dirty="0">
                    <a:latin typeface="Helvetica" pitchFamily="2" charset="0"/>
                  </a:rPr>
                  <a:t> between three metrics are observed: the utility increases and transmission rate decreases 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R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altLang="ko-Kore-DE" sz="1400" dirty="0">
                    <a:latin typeface="Helvetica" pitchFamily="2" charset="0"/>
                  </a:rPr>
                  <a:t> grows, i.e., privacy constraint becomes looser.</a:t>
                </a:r>
              </a:p>
            </p:txBody>
          </p:sp>
        </mc:Choice>
        <mc:Fallback xmlns="">
          <p:sp>
            <p:nvSpPr>
              <p:cNvPr id="14" name="모서리가 둥근 직사각형 13">
                <a:extLst>
                  <a:ext uri="{FF2B5EF4-FFF2-40B4-BE49-F238E27FC236}">
                    <a16:creationId xmlns:a16="http://schemas.microsoft.com/office/drawing/2014/main" id="{F8E20CCD-61D7-7742-BE16-F71ABEFE56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3172" y="6103826"/>
                <a:ext cx="7628944" cy="487312"/>
              </a:xfrm>
              <a:prstGeom prst="roundRect">
                <a:avLst/>
              </a:prstGeom>
              <a:blipFill>
                <a:blip r:embed="rId10"/>
                <a:stretch>
                  <a:fillRect t="-5128" b="-17949"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직사각형 16">
                <a:extLst>
                  <a:ext uri="{FF2B5EF4-FFF2-40B4-BE49-F238E27FC236}">
                    <a16:creationId xmlns:a16="http://schemas.microsoft.com/office/drawing/2014/main" id="{6D1E2DE4-1064-4F4F-ADB9-BA5F2E287E5F}"/>
                  </a:ext>
                </a:extLst>
              </p:cNvPr>
              <p:cNvSpPr/>
              <p:nvPr/>
            </p:nvSpPr>
            <p:spPr>
              <a:xfrm>
                <a:off x="453171" y="1822678"/>
                <a:ext cx="4548617" cy="20433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kumimoji="1" lang="en-US" altLang="ko-KR" b="1" i="1">
                          <a:latin typeface="Cambria Math" panose="02040503050406030204" pitchFamily="18" charset="0"/>
                        </a:rPr>
                        <m:t>𝑻𝒉𝒆𝒐𝒓𝒆𝒎</m:t>
                      </m:r>
                      <m:r>
                        <a:rPr kumimoji="1" lang="en-US" altLang="ko-KR" b="1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b="1" i="1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kumimoji="1" lang="en-US" altLang="ko-KR">
                          <a:latin typeface="Cambria Math" panose="02040503050406030204" pitchFamily="18" charset="0"/>
                        </a:rPr>
                        <m:t> (</m:t>
                      </m:r>
                      <m:sSup>
                        <m:sSupPr>
                          <m:ctrlPr>
                            <a:rPr kumimoji="1" lang="en-US" altLang="ko-KR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kumimoji="1" lang="en-US" altLang="ko-KR">
                              <a:latin typeface="Cambria Math" panose="02040503050406030204" pitchFamily="18" charset="0"/>
                            </a:rPr>
                            <m:t>cont</m:t>
                          </m:r>
                        </m:e>
                        <m:sup>
                          <m:r>
                            <a:rPr kumimoji="1" lang="en-US" altLang="ko-KR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m:rPr>
                          <m:sty m:val="p"/>
                        </m:rPr>
                        <a:rPr kumimoji="1" lang="en-US" altLang="ko-KR">
                          <a:latin typeface="Cambria Math" panose="02040503050406030204" pitchFamily="18" charset="0"/>
                        </a:rPr>
                        <m:t>d</m:t>
                      </m:r>
                      <m:r>
                        <a:rPr kumimoji="1" lang="en-US" altLang="ko-KR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altLang="ko-Kore-DE" dirty="0"/>
              </a:p>
              <a:p>
                <a:pPr algn="l"/>
                <a14:m>
                  <m:oMath xmlns:m="http://schemas.openxmlformats.org/officeDocument/2006/math">
                    <m:r>
                      <a:rPr lang="de-DE" altLang="ko-Kore-DE" i="1">
                        <a:latin typeface="Cambria Math" panose="02040503050406030204" pitchFamily="18" charset="0"/>
                      </a:rPr>
                      <m:t>𝐹𝑜𝑟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𝜇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𝑠𝑚𝑜𝑜𝑡h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𝑛𝑑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𝜆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𝑠𝑡𝑟𝑜𝑛𝑔𝑙𝑦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𝑐𝑜𝑛𝑣𝑒𝑥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𝑙𝑜𝑠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de-DE" altLang="ko-Kor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altLang="ko-Kore-DE" b="1" i="1">
                            <a:latin typeface="Cambria Math" panose="02040503050406030204" pitchFamily="18" charset="0"/>
                          </a:rPr>
                          <m:t>𝒘</m:t>
                        </m:r>
                        <m:r>
                          <a:rPr lang="de-DE" altLang="ko-Kore-DE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altLang="ko-Kore-DE" i="1">
                            <a:latin typeface="Cambria Math" panose="02040503050406030204" pitchFamily="18" charset="0"/>
                          </a:rPr>
                          <m:t>𝒮</m:t>
                        </m:r>
                      </m:e>
                    </m:d>
                    <m:r>
                      <a:rPr lang="en-US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𝑤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altLang="ko-Kore-DE" i="1" dirty="0">
                    <a:latin typeface="Cambria Math" panose="02040503050406030204" pitchFamily="18" charset="0"/>
                  </a:rPr>
                  <a:t> </a:t>
                </a:r>
              </a:p>
              <a:p>
                <a:pPr algn="l"/>
                <a14:m>
                  <m:oMath xmlns:m="http://schemas.openxmlformats.org/officeDocument/2006/math">
                    <m:r>
                      <a:rPr lang="de-DE" altLang="ko-Kore-DE" i="1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𝑑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𝑑𝑖𝑚𝑒𝑛𝑠𝑖𝑜𝑛𝑎𝑙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𝑤𝑒𝑖𝑔h𝑡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𝑣𝑒𝑐𝑡𝑜𝑟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b="1" i="1">
                        <a:latin typeface="Cambria Math" panose="02040503050406030204" pitchFamily="18" charset="0"/>
                      </a:rPr>
                      <m:t>𝒘</m:t>
                    </m:r>
                    <m:r>
                      <a:rPr lang="en-US" altLang="ko-Kore-DE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altLang="ko-Kore-DE" i="1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𝑔𝑖𝑣𝑒𝑛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𝑛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𝑟𝑏𝑖𝑡𝑟𝑎𝑟𝑦</m:t>
                    </m:r>
                  </m:oMath>
                </a14:m>
                <a:r>
                  <a:rPr lang="en-US" altLang="ko-Kore-DE" i="1" dirty="0">
                    <a:latin typeface="Cambria Math" panose="02040503050406030204" pitchFamily="18" charset="0"/>
                  </a:rPr>
                  <a:t> </a:t>
                </a:r>
              </a:p>
              <a:p>
                <a:pPr algn="l"/>
                <a14:m>
                  <m:oMath xmlns:m="http://schemas.openxmlformats.org/officeDocument/2006/math">
                    <m:r>
                      <a:rPr lang="de-DE" altLang="ko-Kore-DE" i="1">
                        <a:latin typeface="Cambria Math" panose="02040503050406030204" pitchFamily="18" charset="0"/>
                      </a:rPr>
                      <m:t>𝑠𝑢𝑏𝑠𝑒𝑡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𝒮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𝒟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.  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𝒮</m:t>
                    </m:r>
                    <m:r>
                      <a:rPr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⊆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𝒟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𝑛𝑑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𝑓𝑜𝑟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𝑙𝑒𝑎𝑟𝑛𝑖𝑛𝑔</m:t>
                    </m:r>
                    <m:r>
                      <a:rPr lang="en-US" altLang="ko-Kor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𝑟𝑎𝑡𝑒</m:t>
                    </m:r>
                    <m:r>
                      <a:rPr lang="de-DE" altLang="ko-Kore-DE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ore-DE" i="1">
                            <a:latin typeface="Cambria Math" panose="02040503050406030204" pitchFamily="18" charset="0"/>
                          </a:rPr>
                          <m:t>𝜂</m:t>
                        </m:r>
                      </m:e>
                      <m:sub>
                        <m:r>
                          <a:rPr lang="de-DE" altLang="ko-Kor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altLang="ko-Kor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altLang="ko-Kor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altLang="ko-Kore-DE" i="1">
                            <a:latin typeface="Cambria Math" panose="02040503050406030204" pitchFamily="18" charset="0"/>
                          </a:rPr>
                          <m:t>𝐺</m:t>
                        </m:r>
                      </m:num>
                      <m:den>
                        <m:r>
                          <a:rPr lang="en-US" altLang="ko-Kor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ko-Kore-D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en-US" altLang="ko-Kore-DE" i="1">
                            <a:latin typeface="Cambria Math" panose="02040503050406030204" pitchFamily="18" charset="0"/>
                          </a:rPr>
                          <m:t>𝑡</m:t>
                        </m:r>
                      </m:den>
                    </m:f>
                    <m:r>
                      <a:rPr lang="de-DE" altLang="ko-Kore-DE" i="1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de-DE" altLang="ko-Kore-DE" dirty="0"/>
                  <a:t>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ko-Kore-DE" i="1">
                          <a:latin typeface="Cambria Math" panose="02040503050406030204" pitchFamily="18" charset="0"/>
                        </a:rPr>
                        <m:t>𝒰</m:t>
                      </m:r>
                      <m:d>
                        <m:dPr>
                          <m:ctrlPr>
                            <a:rPr lang="en-US" altLang="ko-Kore-D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ore-D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altLang="ko-Kore-DE" i="1">
                          <a:latin typeface="Cambria Math" panose="02040503050406030204" pitchFamily="18" charset="0"/>
                        </a:rPr>
                        <m:t>≥</m:t>
                      </m:r>
                      <m:f>
                        <m:fPr>
                          <m:ctrlPr>
                            <a:rPr lang="en-US" altLang="ko-Kor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p>
                              <m: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ko-Kore-DE" i="1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lang="en-US" altLang="ko-Kore-DE" i="1">
                              <a:latin typeface="Cambria Math" panose="02040503050406030204" pitchFamily="18" charset="0"/>
                            </a:rPr>
                            <m:t>𝜇</m:t>
                          </m:r>
                          <m:sSup>
                            <m:sSupPr>
                              <m:ctrlP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p>
                              <m: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func>
                        <m:funcPr>
                          <m:ctrlPr>
                            <a:rPr lang="en-US" altLang="ko-Kore-DE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ko-Kore-DE"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US" altLang="ko-Kor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f>
                                <m:fPr>
                                  <m:ctrlP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altLang="ko-Kore-DE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  <m:sSup>
                                    <m:sSupPr>
                                      <m:ctrlPr>
                                        <a:rPr lang="en-US" altLang="ko-Kor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ko-Kore-DE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e>
                                    <m:sup>
                                      <m:r>
                                        <a:rPr lang="en-US" altLang="ko-Kore-DE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</m:oMath>
                  </m:oMathPara>
                </a14:m>
                <a:endParaRPr lang="de-DE" altLang="ko-KR" dirty="0"/>
              </a:p>
              <a:p>
                <a:endParaRPr kumimoji="1" lang="en-US" altLang="ko-KR" sz="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h𝑒𝑟𝑒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kumimoji="1" lang="en-US" altLang="ko-K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ko-K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kumimoji="1" lang="en-US" altLang="ko-K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kumimoji="1" lang="en-US" altLang="ko-K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𝐾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kumimoji="1" lang="en-US" altLang="ko-K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d>
                                        <m:dPr>
                                          <m:begChr m:val="|"/>
                                          <m:endChr m:val="|"/>
                                          <m:ctrlP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𝒟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  <m:sSub>
                                        <m:sSubPr>
                                          <m:ctrlP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𝑞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  <m:sSub>
                                        <m:sSubPr>
                                          <m:ctrlP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kumimoji="1" lang="en-US" altLang="ko-K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</m:num>
                        <m:den>
                          <m:sSup>
                            <m:sSupPr>
                              <m:ctrlP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limLoc m:val="subSup"/>
                                      <m:ctrlPr>
                                        <a:rPr kumimoji="1" lang="en-US" altLang="ko-K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5"/>
                                        </m:rPr>
                                        <a:rPr kumimoji="1" lang="en-US" altLang="ko-K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kumimoji="1" lang="en-US" altLang="ko-K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kumimoji="1" lang="en-US" altLang="ko-K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𝐾</m:t>
                                      </m:r>
                                    </m:sup>
                                    <m:e>
                                      <m:d>
                                        <m:dPr>
                                          <m:begChr m:val="|"/>
                                          <m:endChr m:val="|"/>
                                          <m:ctrlP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𝒟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1" lang="en-US" altLang="ko-KR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  <m:sSub>
                                        <m:sSubPr>
                                          <m:ctrlP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𝑞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</m:e>
                            <m:sup>
                              <m:r>
                                <a:rPr kumimoji="1" lang="en-US" altLang="ko-K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𝐺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h𝑒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𝑖𝑚𝑢𝑚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𝑟𝑚</m:t>
                      </m:r>
                    </m:oMath>
                  </m:oMathPara>
                </a14:m>
                <a:endParaRPr kumimoji="1" lang="en-US" altLang="ko-KR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𝑓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h𝑒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𝑟𝑎𝑑𝑖𝑒𝑛𝑡</m:t>
                      </m:r>
                      <m:r>
                        <a:rPr kumimoji="1" lang="en-US" altLang="ko-K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1" lang="en-US" altLang="ko-KR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7" name="직사각형 16">
                <a:extLst>
                  <a:ext uri="{FF2B5EF4-FFF2-40B4-BE49-F238E27FC236}">
                    <a16:creationId xmlns:a16="http://schemas.microsoft.com/office/drawing/2014/main" id="{6D1E2DE4-1064-4F4F-ADB9-BA5F2E287E5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171" y="1822678"/>
                <a:ext cx="4548617" cy="2043316"/>
              </a:xfrm>
              <a:prstGeom prst="rect">
                <a:avLst/>
              </a:prstGeom>
              <a:blipFill>
                <a:blip r:embed="rId11"/>
                <a:stretch>
                  <a:fillRect b="-11728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86145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D27CB6E-BC58-F848-8B21-0ED761E8E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647681"/>
            <a:ext cx="8061325" cy="282000"/>
          </a:xfrm>
        </p:spPr>
        <p:txBody>
          <a:bodyPr/>
          <a:lstStyle/>
          <a:p>
            <a:r>
              <a:rPr kumimoji="1" lang="en-US" altLang="ko-Kore-DE" dirty="0"/>
              <a:t>Simulated Results</a:t>
            </a:r>
            <a:endParaRPr kumimoji="1" lang="ko-Kore-DE" altLang="en-US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590E501-5118-8843-B19B-93E7A4EC33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021" y="2934529"/>
            <a:ext cx="2371963" cy="180000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87FC7599-B3C0-9341-A726-04C1FF8AD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021" y="1069711"/>
            <a:ext cx="2355140" cy="1800000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11F60DE3-ACC5-CC48-B656-0911D7DCAE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2048" y="2934529"/>
            <a:ext cx="2544828" cy="180000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52496F0C-5D30-904C-9B5F-10F83C64F4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9450" y="1089570"/>
            <a:ext cx="2557426" cy="180000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2C87F34A-6423-DD4C-AAA5-A7EE841F3F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92140" y="2975788"/>
            <a:ext cx="2682353" cy="1800000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3A1C7D88-2424-5A43-BAC3-C382626A2D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4246" y="1106570"/>
            <a:ext cx="2686829" cy="180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내용 개체 틀 24">
                <a:extLst>
                  <a:ext uri="{FF2B5EF4-FFF2-40B4-BE49-F238E27FC236}">
                    <a16:creationId xmlns:a16="http://schemas.microsoft.com/office/drawing/2014/main" id="{1843E961-9F35-D64F-95BC-83A4F03B8B4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9750" y="5106535"/>
                <a:ext cx="8375650" cy="1225090"/>
              </a:xfrm>
            </p:spPr>
            <p:txBody>
              <a:bodyPr/>
              <a:lstStyle/>
              <a:p>
                <a:pPr marL="285750" indent="-285750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kumimoji="1" lang="en-US" altLang="ko-KR" sz="1300" dirty="0"/>
                  <a:t>Parameters: </a:t>
                </a:r>
                <a14:m>
                  <m:oMath xmlns:m="http://schemas.openxmlformats.org/officeDocument/2006/math">
                    <m:r>
                      <a:rPr kumimoji="1" lang="en-US" altLang="ko-KR" sz="130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100, </m:t>
                    </m:r>
                    <m:sSub>
                      <m:sSubPr>
                        <m:ctrlPr>
                          <a:rPr kumimoji="1"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kumimoji="1" lang="en-US" altLang="ko-KR" sz="13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3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−4</m:t>
                        </m:r>
                      </m:sup>
                    </m:sSup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kumimoji="1" lang="en-US" altLang="ko-KR" sz="13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3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−3</m:t>
                        </m:r>
                      </m:sup>
                    </m:sSup>
                    <m:r>
                      <a:rPr kumimoji="1"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𝑓𝑜𝑟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𝑎𝑙𝑙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𝑘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1,2,…, 100,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𝑑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R" sz="13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kumimoji="1" lang="en-US" altLang="ko-KR" sz="1300" i="1">
                            <a:latin typeface="Cambria Math" panose="02040503050406030204" pitchFamily="18" charset="0"/>
                          </a:rPr>
                          <m:t>4</m:t>
                        </m:r>
                      </m:sup>
                    </m:sSup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,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𝜇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1,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𝜆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1,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𝐶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1,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𝑎𝑛𝑑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𝐺</m:t>
                    </m:r>
                    <m:r>
                      <a:rPr kumimoji="1" lang="en-US" altLang="ko-KR" sz="1300" i="1">
                        <a:latin typeface="Cambria Math" panose="02040503050406030204" pitchFamily="18" charset="0"/>
                      </a:rPr>
                      <m:t>=5.</m:t>
                    </m:r>
                  </m:oMath>
                </a14:m>
                <a:endParaRPr lang="en-US" altLang="ko-Kore-DE" sz="1300" dirty="0"/>
              </a:p>
              <a:p>
                <a:pPr marL="285750" indent="-285750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ore-DE" sz="1300" b="1" dirty="0"/>
                  <a:t>More iterations</a:t>
                </a:r>
                <a:r>
                  <a:rPr lang="en-US" altLang="ko-Kore-DE" sz="1300" dirty="0"/>
                  <a:t> requires </a:t>
                </a:r>
              </a:p>
              <a:p>
                <a:pPr marL="0" indent="0">
                  <a:lnSpc>
                    <a:spcPct val="130000"/>
                  </a:lnSpc>
                </a:pPr>
                <a:r>
                  <a:rPr lang="en-US" altLang="ko-Kore-DE" sz="1300" dirty="0"/>
                  <a:t>      - </a:t>
                </a:r>
                <a:r>
                  <a:rPr lang="en-US" altLang="ko-Kore-DE" sz="1300" b="1" dirty="0">
                    <a:solidFill>
                      <a:srgbClr val="C00000"/>
                    </a:solidFill>
                  </a:rPr>
                  <a:t>larger noise </a:t>
                </a:r>
                <a:r>
                  <a:rPr lang="en-US" altLang="ko-Kore-DE" sz="1300" dirty="0"/>
                  <a:t>to protect the same privacy</a:t>
                </a:r>
              </a:p>
              <a:p>
                <a:pPr marL="0" indent="0">
                  <a:lnSpc>
                    <a:spcPct val="130000"/>
                  </a:lnSpc>
                </a:pPr>
                <a:r>
                  <a:rPr lang="en-US" altLang="ko-Kore-DE" sz="1300" dirty="0"/>
                  <a:t>      - </a:t>
                </a:r>
                <a:r>
                  <a:rPr lang="en-US" altLang="ko-Kore-DE" sz="1300" b="1" dirty="0">
                    <a:solidFill>
                      <a:srgbClr val="C00000"/>
                    </a:solidFill>
                  </a:rPr>
                  <a:t>degrades the utility and transmission rate </a:t>
                </a:r>
                <a:r>
                  <a:rPr lang="en-US" altLang="ko-Kore-DE" sz="1300" dirty="0"/>
                  <a:t>bounds further. </a:t>
                </a:r>
              </a:p>
              <a:p>
                <a:pPr marL="0" indent="0">
                  <a:lnSpc>
                    <a:spcPct val="130000"/>
                  </a:lnSpc>
                </a:pPr>
                <a:r>
                  <a:rPr lang="en-US" altLang="ko-Kore-DE" sz="1300" dirty="0"/>
                  <a:t>      + However, it makes the </a:t>
                </a:r>
                <a:r>
                  <a:rPr lang="en-US" altLang="ko-Kore-DE" sz="1300" b="1" dirty="0">
                    <a:solidFill>
                      <a:schemeClr val="accent6">
                        <a:lumMod val="75000"/>
                      </a:schemeClr>
                    </a:solidFill>
                  </a:rPr>
                  <a:t>maximum achievable utility bound larger</a:t>
                </a:r>
                <a:r>
                  <a:rPr lang="en-US" altLang="ko-Kore-DE" sz="1300" dirty="0"/>
                  <a:t>. </a:t>
                </a:r>
              </a:p>
              <a:p>
                <a:pPr marL="0" indent="0">
                  <a:lnSpc>
                    <a:spcPct val="130000"/>
                  </a:lnSpc>
                </a:pPr>
                <a:endParaRPr lang="en-US" altLang="ko-Kore-DE" sz="1300" dirty="0"/>
              </a:p>
              <a:p>
                <a:pPr marL="0" indent="0">
                  <a:lnSpc>
                    <a:spcPct val="130000"/>
                  </a:lnSpc>
                </a:pPr>
                <a:endParaRPr lang="en-US" altLang="ko-Kore-DE" sz="1300" dirty="0"/>
              </a:p>
            </p:txBody>
          </p:sp>
        </mc:Choice>
        <mc:Fallback xmlns="">
          <p:sp>
            <p:nvSpPr>
              <p:cNvPr id="25" name="내용 개체 틀 24">
                <a:extLst>
                  <a:ext uri="{FF2B5EF4-FFF2-40B4-BE49-F238E27FC236}">
                    <a16:creationId xmlns:a16="http://schemas.microsoft.com/office/drawing/2014/main" id="{1843E961-9F35-D64F-95BC-83A4F03B8B4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9750" y="5106535"/>
                <a:ext cx="8375650" cy="1225090"/>
              </a:xfrm>
              <a:blipFill>
                <a:blip r:embed="rId9"/>
                <a:stretch>
                  <a:fillRect l="-1210" t="-3093" b="-11340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69613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9451577-3899-4B44-88E0-463530C79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705478"/>
            <a:ext cx="8061325" cy="302262"/>
          </a:xfrm>
        </p:spPr>
        <p:txBody>
          <a:bodyPr/>
          <a:lstStyle/>
          <a:p>
            <a:r>
              <a:rPr kumimoji="1" lang="en-US" altLang="ko-Kore-DE" sz="2400" dirty="0"/>
              <a:t>Conclusion</a:t>
            </a:r>
            <a:endParaRPr kumimoji="1" lang="ko-Kore-DE" altLang="en-US" sz="24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74897F1-58D3-1740-8B77-FB08BD3B96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1268762"/>
            <a:ext cx="8173326" cy="3641725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b="1" dirty="0">
                <a:latin typeface="Helvetica" pitchFamily="2" charset="0"/>
              </a:rPr>
              <a:t>Trade-off </a:t>
            </a:r>
            <a:r>
              <a:rPr kumimoji="1" lang="en-US" altLang="ko-KR" sz="1600" dirty="0">
                <a:latin typeface="Helvetica" pitchFamily="2" charset="0"/>
              </a:rPr>
              <a:t>between 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privacy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,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utility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,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and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transmission rate</a:t>
            </a:r>
            <a:endParaRPr kumimoji="1" lang="en-US" altLang="ko-KR" sz="1600" dirty="0">
              <a:solidFill>
                <a:schemeClr val="tx1"/>
              </a:solidFill>
              <a:latin typeface="Helvetica" pitchFamily="2" charset="0"/>
            </a:endParaRP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stronger privacy – larger noise – smaller utility – larger transmission rate</a:t>
            </a: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improved trade-offs by a tight privacy accounting method</a:t>
            </a: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Established on a generalized </a:t>
            </a:r>
            <a:r>
              <a:rPr kumimoji="1" lang="en-US" altLang="ko-KR" sz="1600" dirty="0" err="1">
                <a:solidFill>
                  <a:schemeClr val="tx1"/>
                </a:solidFill>
                <a:latin typeface="Helvetica" pitchFamily="2" charset="0"/>
              </a:rPr>
              <a:t>FedSGD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 model: parameterized query sensitivity, heterogeneous users, </a:t>
            </a:r>
            <a:r>
              <a:rPr kumimoji="1" lang="en-US" altLang="ko-KR" sz="1600" dirty="0" err="1">
                <a:solidFill>
                  <a:schemeClr val="tx1"/>
                </a:solidFill>
                <a:latin typeface="Helvetica" pitchFamily="2" charset="0"/>
              </a:rPr>
              <a:t>etc</a:t>
            </a:r>
            <a:r>
              <a:rPr lang="de-DE" altLang="ko-Kore-DE" sz="1600" dirty="0"/>
              <a:t>.</a:t>
            </a:r>
            <a:endParaRPr kumimoji="1" lang="en-US" altLang="ko-KR" sz="1600" dirty="0"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latin typeface="Helvetica" pitchFamily="2" charset="0"/>
              </a:rPr>
              <a:t>Possible Extensions</a:t>
            </a: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latin typeface="Helvetica" pitchFamily="2" charset="0"/>
              </a:rPr>
              <a:t>Transmission rate can be improved by introducing rate-distortion function. </a:t>
            </a: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latin typeface="Helvetica" pitchFamily="2" charset="0"/>
              </a:rPr>
              <a:t>Experiments with actual datasets and networks can be added to uphold the theoretical analysis.</a:t>
            </a: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endParaRPr kumimoji="1" lang="en-US" altLang="ko-KR" sz="1600" dirty="0">
              <a:latin typeface="Helvetica" pitchFamily="2" charset="0"/>
            </a:endParaRPr>
          </a:p>
          <a:p>
            <a:pPr marL="616744" lvl="1" indent="-285750">
              <a:lnSpc>
                <a:spcPct val="150000"/>
              </a:lnSpc>
              <a:buFont typeface="Wingdings" pitchFamily="2" charset="2"/>
              <a:buChar char="q"/>
            </a:pPr>
            <a:endParaRPr kumimoji="1" lang="en-US" altLang="ko-KR" sz="16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5004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51503-9B21-2B48-9D24-BFA1206EE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7" y="1047169"/>
            <a:ext cx="8061325" cy="282000"/>
          </a:xfrm>
        </p:spPr>
        <p:txBody>
          <a:bodyPr/>
          <a:lstStyle/>
          <a:p>
            <a:pPr algn="ctr"/>
            <a:r>
              <a:rPr kumimoji="1" lang="en-US" altLang="ko-Kore-DE" dirty="0"/>
              <a:t>Thank you for listening!</a:t>
            </a:r>
            <a:endParaRPr kumimoji="1" lang="ko-Kore-DE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CBAB9FE-DECC-AD4C-B2F9-2633506C9B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4323" y="6440821"/>
            <a:ext cx="8061325" cy="834358"/>
          </a:xfrm>
        </p:spPr>
        <p:txBody>
          <a:bodyPr/>
          <a:lstStyle/>
          <a:p>
            <a:r>
              <a:rPr kumimoji="1" lang="en-US" altLang="ko-Kore-DE" sz="1400" dirty="0">
                <a:latin typeface="Cambria" panose="02040503050406030204" pitchFamily="18" charset="0"/>
              </a:rPr>
              <a:t>Contact: </a:t>
            </a:r>
            <a:r>
              <a:rPr kumimoji="1" lang="en-US" altLang="ko-Kore-DE" sz="1400" dirty="0" err="1">
                <a:latin typeface="Cambria" panose="02040503050406030204" pitchFamily="18" charset="0"/>
              </a:rPr>
              <a:t>muah.kim@tu-berlin.de</a:t>
            </a:r>
            <a:endParaRPr kumimoji="1" lang="ko-Kore-DE" altLang="en-US" sz="1400" dirty="0">
              <a:latin typeface="Cambria" panose="02040503050406030204" pitchFamily="18" charset="0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9E62D3-4C50-E54F-B15A-3816DABB30AE}"/>
              </a:ext>
            </a:extLst>
          </p:cNvPr>
          <p:cNvGrpSpPr/>
          <p:nvPr/>
        </p:nvGrpSpPr>
        <p:grpSpPr>
          <a:xfrm>
            <a:off x="710678" y="2542466"/>
            <a:ext cx="7463053" cy="1676400"/>
            <a:chOff x="619238" y="4510966"/>
            <a:chExt cx="7463053" cy="1676400"/>
          </a:xfrm>
        </p:grpSpPr>
        <p:pic>
          <p:nvPicPr>
            <p:cNvPr id="5" name="그림 4" descr="텍스트이(가) 표시된 사진&#10;&#10;자동 생성된 설명">
              <a:extLst>
                <a:ext uri="{FF2B5EF4-FFF2-40B4-BE49-F238E27FC236}">
                  <a16:creationId xmlns:a16="http://schemas.microsoft.com/office/drawing/2014/main" id="{B6B25D4B-A7A4-9444-A199-B07592D4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9238" y="4510966"/>
              <a:ext cx="2428631" cy="16764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C009A53-22AD-8E4B-BCE3-0D5F777EC2B2}"/>
                </a:ext>
              </a:extLst>
            </p:cNvPr>
            <p:cNvSpPr txBox="1"/>
            <p:nvPr/>
          </p:nvSpPr>
          <p:spPr>
            <a:xfrm>
              <a:off x="3736358" y="5349166"/>
              <a:ext cx="434593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sz="1400" dirty="0">
                  <a:latin typeface="Cambria" panose="02040503050406030204" pitchFamily="18" charset="0"/>
                </a:rPr>
                <a:t>Post Shannon Communication (</a:t>
              </a:r>
              <a:r>
                <a:rPr kumimoji="1" lang="en-US" altLang="ko-Kore-DE" sz="1400" dirty="0" err="1">
                  <a:latin typeface="Cambria" panose="02040503050406030204" pitchFamily="18" charset="0"/>
                </a:rPr>
                <a:t>NewCom</a:t>
              </a:r>
              <a:r>
                <a:rPr kumimoji="1" lang="en-US" altLang="ko-Kore-DE" sz="1400">
                  <a:latin typeface="Cambria" panose="02040503050406030204" pitchFamily="18" charset="0"/>
                </a:rPr>
                <a:t>) – 16KIS1004</a:t>
              </a:r>
              <a:endParaRPr kumimoji="1" lang="en-US" altLang="ko-Kore-DE" sz="1400" dirty="0">
                <a:latin typeface="Cambria" panose="02040503050406030204" pitchFamily="18" charset="0"/>
              </a:endParaRPr>
            </a:p>
            <a:p>
              <a:endParaRPr kumimoji="1" lang="ko-Kore-DE" altLang="en-US" sz="1400" dirty="0">
                <a:latin typeface="Cambria" panose="02040503050406030204" pitchFamily="18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82669B5D-C5FC-1140-8D25-11DB7F31BAFC}"/>
              </a:ext>
            </a:extLst>
          </p:cNvPr>
          <p:cNvGrpSpPr/>
          <p:nvPr/>
        </p:nvGrpSpPr>
        <p:grpSpPr>
          <a:xfrm>
            <a:off x="939278" y="4603112"/>
            <a:ext cx="6488683" cy="626116"/>
            <a:chOff x="769937" y="3368760"/>
            <a:chExt cx="6488683" cy="626116"/>
          </a:xfrm>
        </p:grpSpPr>
        <p:pic>
          <p:nvPicPr>
            <p:cNvPr id="7" name="그림 6" descr="텍스트이(가) 표시된 사진&#10;&#10;자동 생성된 설명">
              <a:extLst>
                <a:ext uri="{FF2B5EF4-FFF2-40B4-BE49-F238E27FC236}">
                  <a16:creationId xmlns:a16="http://schemas.microsoft.com/office/drawing/2014/main" id="{EA7B3BCD-AE85-FF48-B8E0-77E92952C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9937" y="3368760"/>
              <a:ext cx="3055014" cy="62611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7C7D869-A3AB-D44F-AE47-FD64B87BF258}"/>
                </a:ext>
              </a:extLst>
            </p:cNvPr>
            <p:cNvSpPr txBox="1"/>
            <p:nvPr/>
          </p:nvSpPr>
          <p:spPr>
            <a:xfrm>
              <a:off x="5031344" y="3511093"/>
              <a:ext cx="222727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altLang="ko-Kore-DE" sz="1400" dirty="0">
                  <a:latin typeface="Cambria" panose="02040503050406030204" pitchFamily="18" charset="0"/>
                </a:rPr>
                <a:t>DFG Grant SCHA 1944/7-1</a:t>
              </a:r>
              <a:endParaRPr kumimoji="1" lang="ko-Kore-DE" altLang="en-US" sz="1400" dirty="0">
                <a:latin typeface="Cambria" panose="02040503050406030204" pitchFamily="18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0F50138-9DD6-6D49-BAB0-6D6428718F9F}"/>
              </a:ext>
            </a:extLst>
          </p:cNvPr>
          <p:cNvSpPr txBox="1"/>
          <p:nvPr/>
        </p:nvSpPr>
        <p:spPr>
          <a:xfrm>
            <a:off x="3810604" y="2043638"/>
            <a:ext cx="1522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altLang="ko-Kore-DE" sz="1800" dirty="0" err="1">
                <a:latin typeface="Cambria" panose="02040503050406030204" pitchFamily="18" charset="0"/>
              </a:rPr>
              <a:t>Sponsored</a:t>
            </a:r>
            <a:r>
              <a:rPr lang="de-DE" altLang="ko-Kore-DE" sz="1800" dirty="0">
                <a:latin typeface="Cambria" panose="02040503050406030204" pitchFamily="18" charset="0"/>
              </a:rPr>
              <a:t> </a:t>
            </a:r>
            <a:r>
              <a:rPr lang="de-DE" altLang="ko-Kore-DE" sz="1800" dirty="0" err="1">
                <a:latin typeface="Cambria" panose="02040503050406030204" pitchFamily="18" charset="0"/>
              </a:rPr>
              <a:t>by</a:t>
            </a:r>
            <a:endParaRPr kumimoji="1" lang="ko-Kore-DE" altLang="en-US" sz="18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314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1B03ED5-3E46-4940-9628-B47C0026E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649861"/>
            <a:ext cx="8061325" cy="279820"/>
          </a:xfrm>
        </p:spPr>
        <p:txBody>
          <a:bodyPr/>
          <a:lstStyle/>
          <a:p>
            <a:r>
              <a:rPr kumimoji="1" lang="en-US" altLang="ko-Kore-DE" dirty="0"/>
              <a:t>References</a:t>
            </a:r>
            <a:endParaRPr kumimoji="1" lang="ko-Kore-DE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CE8DB2-7451-E54F-B029-DA8E8170C9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ko-Kore-DE" dirty="0"/>
              <a:t>[1] B. McMahan, E. Moore, D. Ramage, S. Hampson, and B. A. y </a:t>
            </a:r>
            <a:r>
              <a:rPr kumimoji="1" lang="en-US" altLang="ko-Kore-DE" dirty="0" err="1"/>
              <a:t>Arcas</a:t>
            </a:r>
            <a:r>
              <a:rPr kumimoji="1" lang="en-US" altLang="ko-Kore-DE" dirty="0"/>
              <a:t>, “Communication-efficient learning of deep networks from decentralized data,” in </a:t>
            </a:r>
            <a:r>
              <a:rPr kumimoji="1" lang="en-US" altLang="ko-Kore-DE" i="1" dirty="0"/>
              <a:t>Int. Conf. </a:t>
            </a:r>
            <a:r>
              <a:rPr kumimoji="1" lang="en-US" altLang="ko-Kore-DE" i="1" dirty="0" err="1"/>
              <a:t>Artif</a:t>
            </a:r>
            <a:r>
              <a:rPr kumimoji="1" lang="en-US" altLang="ko-Kore-DE" i="1" dirty="0"/>
              <a:t>. </a:t>
            </a:r>
            <a:r>
              <a:rPr kumimoji="1" lang="en-US" altLang="ko-Kore-DE" i="1" dirty="0" err="1"/>
              <a:t>Intell</a:t>
            </a:r>
            <a:r>
              <a:rPr kumimoji="1" lang="en-US" altLang="ko-Kore-DE" i="1" dirty="0"/>
              <a:t>. Statist.</a:t>
            </a:r>
            <a:r>
              <a:rPr kumimoji="1" lang="en-US" altLang="ko-Kore-DE" dirty="0"/>
              <a:t>, Ft. Lauderdale, FL, Apr. 2017, pp. 1273–1282.</a:t>
            </a:r>
          </a:p>
          <a:p>
            <a:r>
              <a:rPr kumimoji="1" lang="en-US" altLang="ko-Kore-DE" dirty="0"/>
              <a:t>[2]</a:t>
            </a:r>
            <a:r>
              <a:rPr lang="de-DE" altLang="ko-Kore-DE" dirty="0"/>
              <a:t> </a:t>
            </a:r>
            <a:r>
              <a:rPr lang="de-DE" altLang="ko-Kore-DE" dirty="0" err="1"/>
              <a:t>Fredrikson</a:t>
            </a:r>
            <a:r>
              <a:rPr lang="de-DE" altLang="ko-Kore-DE" dirty="0"/>
              <a:t>, M., </a:t>
            </a:r>
            <a:r>
              <a:rPr lang="de-DE" altLang="ko-Kore-DE" dirty="0" err="1"/>
              <a:t>Jha</a:t>
            </a:r>
            <a:r>
              <a:rPr lang="de-DE" altLang="ko-Kore-DE" dirty="0"/>
              <a:t>, S., &amp; </a:t>
            </a:r>
            <a:r>
              <a:rPr lang="de-DE" altLang="ko-Kore-DE" dirty="0" err="1"/>
              <a:t>Ristenpart</a:t>
            </a:r>
            <a:r>
              <a:rPr lang="de-DE" altLang="ko-Kore-DE" dirty="0"/>
              <a:t>, T. (2015). Model Inversion </a:t>
            </a:r>
            <a:r>
              <a:rPr lang="de-DE" altLang="ko-Kore-DE" dirty="0" err="1"/>
              <a:t>Attacks</a:t>
            </a:r>
            <a:r>
              <a:rPr lang="de-DE" altLang="ko-Kore-DE" dirty="0"/>
              <a:t> </a:t>
            </a:r>
            <a:r>
              <a:rPr lang="de-DE" altLang="ko-Kore-DE" dirty="0" err="1"/>
              <a:t>that</a:t>
            </a:r>
            <a:r>
              <a:rPr lang="de-DE" altLang="ko-Kore-DE" dirty="0"/>
              <a:t> </a:t>
            </a:r>
            <a:r>
              <a:rPr lang="de-DE" altLang="ko-Kore-DE" dirty="0" err="1"/>
              <a:t>Exploit</a:t>
            </a:r>
            <a:r>
              <a:rPr lang="de-DE" altLang="ko-Kore-DE" dirty="0"/>
              <a:t> </a:t>
            </a:r>
            <a:r>
              <a:rPr lang="de-DE" altLang="ko-Kore-DE" dirty="0" err="1"/>
              <a:t>Confidence</a:t>
            </a:r>
            <a:r>
              <a:rPr lang="de-DE" altLang="ko-Kore-DE" dirty="0"/>
              <a:t> Information </a:t>
            </a:r>
            <a:r>
              <a:rPr lang="de-DE" altLang="ko-Kore-DE" dirty="0" err="1"/>
              <a:t>and</a:t>
            </a:r>
            <a:r>
              <a:rPr lang="de-DE" altLang="ko-Kore-DE" dirty="0"/>
              <a:t> Basic </a:t>
            </a:r>
            <a:r>
              <a:rPr lang="de-DE" altLang="ko-Kore-DE" dirty="0" err="1"/>
              <a:t>Countermeasures</a:t>
            </a:r>
            <a:r>
              <a:rPr lang="de-DE" altLang="ko-Kore-DE" dirty="0"/>
              <a:t>. </a:t>
            </a:r>
            <a:r>
              <a:rPr lang="de-DE" altLang="ko-Kore-DE" i="1" dirty="0" err="1"/>
              <a:t>Proceedings</a:t>
            </a:r>
            <a:r>
              <a:rPr lang="de-DE" altLang="ko-Kore-DE" i="1" dirty="0"/>
              <a:t> </a:t>
            </a:r>
            <a:r>
              <a:rPr lang="de-DE" altLang="ko-Kore-DE" i="1" dirty="0" err="1"/>
              <a:t>of</a:t>
            </a:r>
            <a:r>
              <a:rPr lang="de-DE" altLang="ko-Kore-DE" i="1" dirty="0"/>
              <a:t> </a:t>
            </a:r>
            <a:r>
              <a:rPr lang="de-DE" altLang="ko-Kore-DE" i="1" dirty="0" err="1"/>
              <a:t>the</a:t>
            </a:r>
            <a:r>
              <a:rPr lang="de-DE" altLang="ko-Kore-DE" i="1" dirty="0"/>
              <a:t> 22nd ACM SIGSAC Conference on Computer </a:t>
            </a:r>
            <a:r>
              <a:rPr lang="de-DE" altLang="ko-Kore-DE" i="1" dirty="0" err="1"/>
              <a:t>and</a:t>
            </a:r>
            <a:r>
              <a:rPr lang="de-DE" altLang="ko-Kore-DE" i="1" dirty="0"/>
              <a:t> Communications Security</a:t>
            </a:r>
            <a:r>
              <a:rPr lang="de-DE" altLang="ko-Kore-DE" dirty="0"/>
              <a:t>.</a:t>
            </a:r>
            <a:endParaRPr kumimoji="1" lang="en-US" altLang="ko-Kore-DE" dirty="0"/>
          </a:p>
          <a:p>
            <a:r>
              <a:rPr kumimoji="1" lang="en-US" altLang="ko-Kore-DE" dirty="0"/>
              <a:t>[3] </a:t>
            </a:r>
            <a:r>
              <a:rPr lang="de-DE" altLang="ko-Kore-DE" dirty="0"/>
              <a:t>S. </a:t>
            </a:r>
            <a:r>
              <a:rPr lang="de-DE" altLang="ko-Kore-DE" dirty="0" err="1"/>
              <a:t>Asoodeh</a:t>
            </a:r>
            <a:r>
              <a:rPr lang="de-DE" altLang="ko-Kore-DE" dirty="0"/>
              <a:t>, J. Liao, F. P. </a:t>
            </a:r>
            <a:r>
              <a:rPr lang="de-DE" altLang="ko-Kore-DE" dirty="0" err="1"/>
              <a:t>Calmon</a:t>
            </a:r>
            <a:r>
              <a:rPr lang="de-DE" altLang="ko-Kore-DE" dirty="0"/>
              <a:t>, O. </a:t>
            </a:r>
            <a:r>
              <a:rPr lang="de-DE" altLang="ko-Kore-DE" dirty="0" err="1"/>
              <a:t>Kosut</a:t>
            </a:r>
            <a:r>
              <a:rPr lang="de-DE" altLang="ko-Kore-DE" dirty="0"/>
              <a:t> </a:t>
            </a:r>
            <a:r>
              <a:rPr lang="de-DE" altLang="ko-Kore-DE" dirty="0" err="1"/>
              <a:t>and</a:t>
            </a:r>
            <a:r>
              <a:rPr lang="de-DE" altLang="ko-Kore-DE" dirty="0"/>
              <a:t> L. </a:t>
            </a:r>
            <a:r>
              <a:rPr lang="de-DE" altLang="ko-Kore-DE" dirty="0" err="1"/>
              <a:t>Sankar</a:t>
            </a:r>
            <a:r>
              <a:rPr lang="de-DE" altLang="ko-Kore-DE" dirty="0"/>
              <a:t>, "A </a:t>
            </a:r>
            <a:r>
              <a:rPr lang="de-DE" altLang="ko-Kore-DE" dirty="0" err="1"/>
              <a:t>Better</a:t>
            </a:r>
            <a:r>
              <a:rPr lang="de-DE" altLang="ko-Kore-DE" dirty="0"/>
              <a:t> </a:t>
            </a:r>
            <a:r>
              <a:rPr lang="de-DE" altLang="ko-Kore-DE" dirty="0" err="1"/>
              <a:t>Bound</a:t>
            </a:r>
            <a:r>
              <a:rPr lang="de-DE" altLang="ko-Kore-DE" dirty="0"/>
              <a:t> </a:t>
            </a:r>
            <a:r>
              <a:rPr lang="de-DE" altLang="ko-Kore-DE" dirty="0" err="1"/>
              <a:t>Gives</a:t>
            </a:r>
            <a:r>
              <a:rPr lang="de-DE" altLang="ko-Kore-DE" dirty="0"/>
              <a:t> a </a:t>
            </a:r>
            <a:r>
              <a:rPr lang="de-DE" altLang="ko-Kore-DE" dirty="0" err="1"/>
              <a:t>Hundred</a:t>
            </a:r>
            <a:r>
              <a:rPr lang="de-DE" altLang="ko-Kore-DE" dirty="0"/>
              <a:t> </a:t>
            </a:r>
            <a:r>
              <a:rPr lang="de-DE" altLang="ko-Kore-DE" dirty="0" err="1"/>
              <a:t>Rounds</a:t>
            </a:r>
            <a:r>
              <a:rPr lang="de-DE" altLang="ko-Kore-DE" dirty="0"/>
              <a:t>: Enhanced Privacy </a:t>
            </a:r>
            <a:r>
              <a:rPr lang="de-DE" altLang="ko-Kore-DE" dirty="0" err="1"/>
              <a:t>Guarantees</a:t>
            </a:r>
            <a:r>
              <a:rPr lang="de-DE" altLang="ko-Kore-DE" dirty="0"/>
              <a:t> via f-</a:t>
            </a:r>
            <a:r>
              <a:rPr lang="de-DE" altLang="ko-Kore-DE" dirty="0" err="1"/>
              <a:t>Divergences</a:t>
            </a:r>
            <a:r>
              <a:rPr lang="de-DE" altLang="ko-Kore-DE" dirty="0"/>
              <a:t>," </a:t>
            </a:r>
            <a:r>
              <a:rPr lang="de-DE" altLang="ko-Kore-DE" i="1" dirty="0"/>
              <a:t>2020 IEEE International Symposium on Information </a:t>
            </a:r>
            <a:r>
              <a:rPr lang="de-DE" altLang="ko-Kore-DE" i="1" dirty="0" err="1"/>
              <a:t>Theory</a:t>
            </a:r>
            <a:r>
              <a:rPr lang="de-DE" altLang="ko-Kore-DE" i="1" dirty="0"/>
              <a:t> (ISIT)</a:t>
            </a:r>
            <a:r>
              <a:rPr lang="de-DE" altLang="ko-Kore-DE" dirty="0"/>
              <a:t>, Los Angeles, CA, USA, 2020, pp. 920-925, </a:t>
            </a:r>
            <a:r>
              <a:rPr lang="de-DE" altLang="ko-Kore-DE" dirty="0" err="1"/>
              <a:t>doi</a:t>
            </a:r>
            <a:r>
              <a:rPr lang="de-DE" altLang="ko-Kore-DE" dirty="0"/>
              <a:t>: 10.1109/ISIT44484.2020.9174015.</a:t>
            </a:r>
          </a:p>
          <a:p>
            <a:r>
              <a:rPr lang="de-DE" altLang="ko-Kore-DE" dirty="0"/>
              <a:t>[4] J. C. </a:t>
            </a:r>
            <a:r>
              <a:rPr lang="de-DE" altLang="ko-Kore-DE" dirty="0" err="1"/>
              <a:t>Duchi</a:t>
            </a:r>
            <a:r>
              <a:rPr lang="de-DE" altLang="ko-Kore-DE" dirty="0"/>
              <a:t>, M. I. Jordan, &amp; M. J. Wainwright (2013, </a:t>
            </a:r>
            <a:r>
              <a:rPr lang="de-DE" altLang="ko-Kore-DE" dirty="0" err="1"/>
              <a:t>October</a:t>
            </a:r>
            <a:r>
              <a:rPr lang="de-DE" altLang="ko-Kore-DE" dirty="0"/>
              <a:t>). “</a:t>
            </a:r>
            <a:r>
              <a:rPr lang="de-DE" altLang="ko-Kore-DE" dirty="0" err="1"/>
              <a:t>Local</a:t>
            </a:r>
            <a:r>
              <a:rPr lang="de-DE" altLang="ko-Kore-DE" dirty="0"/>
              <a:t> </a:t>
            </a:r>
            <a:r>
              <a:rPr lang="de-DE" altLang="ko-Kore-DE" dirty="0" err="1"/>
              <a:t>privacy</a:t>
            </a:r>
            <a:r>
              <a:rPr lang="de-DE" altLang="ko-Kore-DE" dirty="0"/>
              <a:t> </a:t>
            </a:r>
            <a:r>
              <a:rPr lang="de-DE" altLang="ko-Kore-DE" dirty="0" err="1"/>
              <a:t>and</a:t>
            </a:r>
            <a:r>
              <a:rPr lang="de-DE" altLang="ko-Kore-DE" dirty="0"/>
              <a:t> </a:t>
            </a:r>
            <a:r>
              <a:rPr lang="de-DE" altLang="ko-Kore-DE" dirty="0" err="1"/>
              <a:t>statistical</a:t>
            </a:r>
            <a:r>
              <a:rPr lang="de-DE" altLang="ko-Kore-DE" dirty="0"/>
              <a:t> </a:t>
            </a:r>
            <a:r>
              <a:rPr lang="de-DE" altLang="ko-Kore-DE" dirty="0" err="1"/>
              <a:t>minimax</a:t>
            </a:r>
            <a:r>
              <a:rPr lang="de-DE" altLang="ko-Kore-DE" dirty="0"/>
              <a:t> </a:t>
            </a:r>
            <a:r>
              <a:rPr lang="de-DE" altLang="ko-Kore-DE" dirty="0" err="1"/>
              <a:t>rates</a:t>
            </a:r>
            <a:r>
              <a:rPr lang="de-DE" altLang="ko-Kore-DE" dirty="0"/>
              <a:t>,” </a:t>
            </a:r>
            <a:r>
              <a:rPr lang="de-DE" altLang="ko-Kore-DE" i="1" dirty="0"/>
              <a:t>IEEE 54th Annual Symposium on </a:t>
            </a:r>
            <a:r>
              <a:rPr lang="de-DE" altLang="ko-Kore-DE" i="1" dirty="0" err="1"/>
              <a:t>Found</a:t>
            </a:r>
            <a:r>
              <a:rPr lang="de-DE" altLang="ko-Kore-DE" i="1" dirty="0"/>
              <a:t>. </a:t>
            </a:r>
            <a:r>
              <a:rPr lang="de-DE" altLang="ko-Kore-DE" i="1" dirty="0" err="1"/>
              <a:t>of</a:t>
            </a:r>
            <a:r>
              <a:rPr lang="de-DE" altLang="ko-Kore-DE" i="1" dirty="0"/>
              <a:t> Comp. Science, </a:t>
            </a:r>
            <a:r>
              <a:rPr lang="de-DE" altLang="ko-Kore-DE" dirty="0"/>
              <a:t>pp. 429-438, 2013.</a:t>
            </a:r>
          </a:p>
          <a:p>
            <a:r>
              <a:rPr lang="de-DE" altLang="ko-Kore-DE" dirty="0"/>
              <a:t>[5] C. </a:t>
            </a:r>
            <a:r>
              <a:rPr lang="de-DE" altLang="ko-Kore-DE" dirty="0" err="1"/>
              <a:t>Dwork</a:t>
            </a:r>
            <a:r>
              <a:rPr lang="de-DE" altLang="ko-Kore-DE" dirty="0"/>
              <a:t> </a:t>
            </a:r>
            <a:r>
              <a:rPr lang="de-DE" altLang="ko-Kore-DE" dirty="0" err="1"/>
              <a:t>and</a:t>
            </a:r>
            <a:r>
              <a:rPr lang="de-DE" altLang="ko-Kore-DE" dirty="0"/>
              <a:t> A. Roth, “The </a:t>
            </a:r>
            <a:r>
              <a:rPr lang="de-DE" altLang="ko-Kore-DE" dirty="0" err="1"/>
              <a:t>algorithmic</a:t>
            </a:r>
            <a:r>
              <a:rPr lang="de-DE" altLang="ko-Kore-DE" dirty="0"/>
              <a:t> </a:t>
            </a:r>
            <a:r>
              <a:rPr lang="de-DE" altLang="ko-Kore-DE" dirty="0" err="1"/>
              <a:t>foundations</a:t>
            </a:r>
            <a:r>
              <a:rPr lang="de-DE" altLang="ko-Kore-DE" dirty="0"/>
              <a:t> </a:t>
            </a:r>
            <a:r>
              <a:rPr lang="de-DE" altLang="ko-Kore-DE" dirty="0" err="1"/>
              <a:t>of</a:t>
            </a:r>
            <a:r>
              <a:rPr lang="de-DE" altLang="ko-Kore-DE" dirty="0"/>
              <a:t> differential </a:t>
            </a:r>
            <a:r>
              <a:rPr lang="de-DE" altLang="ko-Kore-DE" dirty="0" err="1"/>
              <a:t>privacy</a:t>
            </a:r>
            <a:r>
              <a:rPr lang="de-DE" altLang="ko-Kore-DE" dirty="0"/>
              <a:t>,” </a:t>
            </a:r>
            <a:r>
              <a:rPr lang="de-DE" altLang="ko-Kore-DE" i="1" dirty="0" err="1"/>
              <a:t>Found</a:t>
            </a:r>
            <a:r>
              <a:rPr lang="de-DE" altLang="ko-Kore-DE" i="1" dirty="0"/>
              <a:t>. Trends Theor. Comp. </a:t>
            </a:r>
            <a:r>
              <a:rPr lang="de-DE" altLang="ko-Kore-DE" i="1" dirty="0" err="1"/>
              <a:t>Sci</a:t>
            </a:r>
            <a:r>
              <a:rPr lang="de-DE" altLang="ko-Kore-DE" i="1" dirty="0"/>
              <a:t>.</a:t>
            </a:r>
            <a:r>
              <a:rPr lang="de-DE" altLang="ko-Kore-DE" dirty="0"/>
              <a:t>, vol. 9, </a:t>
            </a:r>
            <a:r>
              <a:rPr lang="de-DE" altLang="ko-Kore-DE" dirty="0" err="1"/>
              <a:t>no</a:t>
            </a:r>
            <a:r>
              <a:rPr lang="de-DE" altLang="ko-Kore-DE" dirty="0"/>
              <a:t>. 3-4, pp. 211–407, 2014.</a:t>
            </a:r>
          </a:p>
          <a:p>
            <a:r>
              <a:rPr lang="de-DE" altLang="ko-Kore-DE" dirty="0"/>
              <a:t>[6] A. </a:t>
            </a:r>
            <a:r>
              <a:rPr lang="de-DE" altLang="ko-Kore-DE" dirty="0" err="1"/>
              <a:t>Rakhlin</a:t>
            </a:r>
            <a:r>
              <a:rPr lang="de-DE" altLang="ko-Kore-DE" dirty="0"/>
              <a:t>, O. </a:t>
            </a:r>
            <a:r>
              <a:rPr lang="de-DE" altLang="ko-Kore-DE" dirty="0" err="1"/>
              <a:t>Shamir</a:t>
            </a:r>
            <a:r>
              <a:rPr lang="de-DE" altLang="ko-Kore-DE" dirty="0"/>
              <a:t>, </a:t>
            </a:r>
            <a:r>
              <a:rPr lang="de-DE" altLang="ko-Kore-DE" dirty="0" err="1"/>
              <a:t>and</a:t>
            </a:r>
            <a:r>
              <a:rPr lang="de-DE" altLang="ko-Kore-DE" dirty="0"/>
              <a:t> K. </a:t>
            </a:r>
            <a:r>
              <a:rPr lang="de-DE" altLang="ko-Kore-DE" dirty="0" err="1"/>
              <a:t>Sridharan</a:t>
            </a:r>
            <a:r>
              <a:rPr lang="de-DE" altLang="ko-Kore-DE" dirty="0"/>
              <a:t>, “Making </a:t>
            </a:r>
            <a:r>
              <a:rPr lang="de-DE" altLang="ko-Kore-DE" dirty="0" err="1"/>
              <a:t>gradient</a:t>
            </a:r>
            <a:r>
              <a:rPr lang="de-DE" altLang="ko-Kore-DE" dirty="0"/>
              <a:t> </a:t>
            </a:r>
            <a:r>
              <a:rPr lang="de-DE" altLang="ko-Kore-DE" dirty="0" err="1"/>
              <a:t>descent</a:t>
            </a:r>
            <a:r>
              <a:rPr lang="de-DE" altLang="ko-Kore-DE" dirty="0"/>
              <a:t> optimal </a:t>
            </a:r>
            <a:r>
              <a:rPr lang="de-DE" altLang="ko-Kore-DE" dirty="0" err="1"/>
              <a:t>for</a:t>
            </a:r>
            <a:r>
              <a:rPr lang="de-DE" altLang="ko-Kore-DE" dirty="0"/>
              <a:t> </a:t>
            </a:r>
            <a:r>
              <a:rPr lang="de-DE" altLang="ko-Kore-DE" dirty="0" err="1"/>
              <a:t>strongly</a:t>
            </a:r>
            <a:r>
              <a:rPr lang="de-DE" altLang="ko-Kore-DE" dirty="0"/>
              <a:t> </a:t>
            </a:r>
            <a:r>
              <a:rPr lang="de-DE" altLang="ko-Kore-DE" dirty="0" err="1"/>
              <a:t>convex</a:t>
            </a:r>
            <a:r>
              <a:rPr lang="de-DE" altLang="ko-Kore-DE" dirty="0"/>
              <a:t> </a:t>
            </a:r>
            <a:r>
              <a:rPr lang="de-DE" altLang="ko-Kore-DE" dirty="0" err="1"/>
              <a:t>stochastic</a:t>
            </a:r>
            <a:r>
              <a:rPr lang="de-DE" altLang="ko-Kore-DE" dirty="0"/>
              <a:t> </a:t>
            </a:r>
            <a:r>
              <a:rPr lang="de-DE" altLang="ko-Kore-DE" dirty="0" err="1"/>
              <a:t>optimization</a:t>
            </a:r>
            <a:r>
              <a:rPr lang="de-DE" altLang="ko-Kore-DE" dirty="0"/>
              <a:t>,” [Online]. </a:t>
            </a:r>
            <a:r>
              <a:rPr lang="de-DE" altLang="ko-Kore-DE" dirty="0" err="1"/>
              <a:t>Available</a:t>
            </a:r>
            <a:r>
              <a:rPr lang="de-DE" altLang="ko-Kore-DE" dirty="0"/>
              <a:t>: </a:t>
            </a:r>
            <a:r>
              <a:rPr lang="de-DE" altLang="ko-Kore-DE" i="1" dirty="0" err="1"/>
              <a:t>arxiv.org</a:t>
            </a:r>
            <a:r>
              <a:rPr lang="de-DE" altLang="ko-Kore-DE" i="1" dirty="0"/>
              <a:t>/</a:t>
            </a:r>
            <a:r>
              <a:rPr lang="de-DE" altLang="ko-Kore-DE" i="1" dirty="0" err="1"/>
              <a:t>pdf</a:t>
            </a:r>
            <a:r>
              <a:rPr lang="de-DE" altLang="ko-Kore-DE" i="1" dirty="0"/>
              <a:t>/1109.564</a:t>
            </a:r>
            <a:r>
              <a:rPr lang="de-DE" altLang="ko-Kore-DE" dirty="0"/>
              <a:t>7, </a:t>
            </a:r>
            <a:r>
              <a:rPr lang="de-DE" altLang="ko-Kore-DE" dirty="0" err="1"/>
              <a:t>Dec</a:t>
            </a:r>
            <a:r>
              <a:rPr lang="de-DE" altLang="ko-Kore-DE" dirty="0"/>
              <a:t>. 2012.</a:t>
            </a:r>
          </a:p>
          <a:p>
            <a:r>
              <a:rPr kumimoji="1" lang="en-US" altLang="ko-Kore-DE" dirty="0"/>
              <a:t>[7]</a:t>
            </a:r>
            <a:r>
              <a:rPr lang="de-DE" altLang="ko-Kore-DE" dirty="0"/>
              <a:t>  M. Abadi, A. Chu, I. </a:t>
            </a:r>
            <a:r>
              <a:rPr lang="de-DE" altLang="ko-Kore-DE" dirty="0" err="1"/>
              <a:t>Goodfellow</a:t>
            </a:r>
            <a:r>
              <a:rPr lang="de-DE" altLang="ko-Kore-DE" dirty="0"/>
              <a:t>, H B. </a:t>
            </a:r>
            <a:r>
              <a:rPr lang="de-DE" altLang="ko-Kore-DE" dirty="0" err="1"/>
              <a:t>McMahan</a:t>
            </a:r>
            <a:r>
              <a:rPr lang="de-DE" altLang="ko-Kore-DE" dirty="0"/>
              <a:t>, I. </a:t>
            </a:r>
            <a:r>
              <a:rPr lang="de-DE" altLang="ko-Kore-DE" dirty="0" err="1"/>
              <a:t>Mironov</a:t>
            </a:r>
            <a:r>
              <a:rPr lang="de-DE" altLang="ko-Kore-DE" dirty="0"/>
              <a:t>, K. </a:t>
            </a:r>
            <a:r>
              <a:rPr lang="de-DE" altLang="ko-Kore-DE" dirty="0" err="1"/>
              <a:t>Talwar</a:t>
            </a:r>
            <a:r>
              <a:rPr lang="de-DE" altLang="ko-Kore-DE" dirty="0"/>
              <a:t>, </a:t>
            </a:r>
            <a:r>
              <a:rPr lang="de-DE" altLang="ko-Kore-DE" dirty="0" err="1"/>
              <a:t>and</a:t>
            </a:r>
            <a:r>
              <a:rPr lang="de-DE" altLang="ko-Kore-DE" dirty="0"/>
              <a:t> L. Zhang, “</a:t>
            </a:r>
            <a:r>
              <a:rPr lang="de-DE" altLang="ko-Kore-DE" dirty="0" err="1"/>
              <a:t>Deep</a:t>
            </a:r>
            <a:r>
              <a:rPr lang="de-DE" altLang="ko-Kore-DE" dirty="0"/>
              <a:t> </a:t>
            </a:r>
            <a:r>
              <a:rPr lang="de-DE" altLang="ko-Kore-DE" dirty="0" err="1"/>
              <a:t>learning</a:t>
            </a:r>
            <a:r>
              <a:rPr lang="de-DE" altLang="ko-Kore-DE" dirty="0"/>
              <a:t> </a:t>
            </a:r>
            <a:r>
              <a:rPr lang="de-DE" altLang="ko-Kore-DE" dirty="0" err="1"/>
              <a:t>with</a:t>
            </a:r>
            <a:r>
              <a:rPr lang="de-DE" altLang="ko-Kore-DE" dirty="0"/>
              <a:t> differential </a:t>
            </a:r>
            <a:r>
              <a:rPr lang="de-DE" altLang="ko-Kore-DE" dirty="0" err="1"/>
              <a:t>privacy</a:t>
            </a:r>
            <a:r>
              <a:rPr lang="de-DE" altLang="ko-Kore-DE" dirty="0"/>
              <a:t>,” in ACM </a:t>
            </a:r>
            <a:r>
              <a:rPr lang="de-DE" altLang="ko-Kore-DE" dirty="0" err="1"/>
              <a:t>Conf</a:t>
            </a:r>
            <a:r>
              <a:rPr lang="de-DE" altLang="ko-Kore-DE" dirty="0"/>
              <a:t>. </a:t>
            </a:r>
            <a:r>
              <a:rPr lang="de-DE" altLang="ko-Kore-DE" dirty="0" err="1"/>
              <a:t>Comput</a:t>
            </a:r>
            <a:r>
              <a:rPr lang="de-DE" altLang="ko-Kore-DE" dirty="0"/>
              <a:t>. </a:t>
            </a:r>
            <a:r>
              <a:rPr lang="de-DE" altLang="ko-Kore-DE" dirty="0" err="1"/>
              <a:t>Commun</a:t>
            </a:r>
            <a:r>
              <a:rPr lang="de-DE" altLang="ko-Kore-DE" dirty="0"/>
              <a:t>. Security, Vienna, Austria, </a:t>
            </a:r>
            <a:r>
              <a:rPr lang="de-DE" altLang="ko-Kore-DE" dirty="0" err="1"/>
              <a:t>Oct</a:t>
            </a:r>
            <a:r>
              <a:rPr lang="de-DE" altLang="ko-Kore-DE" dirty="0"/>
              <a:t>. 2016, pp. 308–318.</a:t>
            </a:r>
          </a:p>
          <a:p>
            <a:r>
              <a:rPr lang="de-DE" altLang="ko-Kore-DE" dirty="0"/>
              <a:t>[8] P. </a:t>
            </a:r>
            <a:r>
              <a:rPr lang="de-DE" altLang="ko-Kore-DE" dirty="0" err="1"/>
              <a:t>Kairouz</a:t>
            </a:r>
            <a:r>
              <a:rPr lang="de-DE" altLang="ko-Kore-DE" dirty="0"/>
              <a:t>, S. Oh, </a:t>
            </a:r>
            <a:r>
              <a:rPr lang="de-DE" altLang="ko-Kore-DE" dirty="0" err="1"/>
              <a:t>and</a:t>
            </a:r>
            <a:r>
              <a:rPr lang="de-DE" altLang="ko-Kore-DE" dirty="0"/>
              <a:t> P. </a:t>
            </a:r>
            <a:r>
              <a:rPr lang="de-DE" altLang="ko-Kore-DE" dirty="0" err="1"/>
              <a:t>Viswanath</a:t>
            </a:r>
            <a:r>
              <a:rPr lang="de-DE" altLang="ko-Kore-DE" dirty="0"/>
              <a:t>, “The </a:t>
            </a:r>
            <a:r>
              <a:rPr lang="de-DE" altLang="ko-Kore-DE" dirty="0" err="1"/>
              <a:t>composition</a:t>
            </a:r>
            <a:r>
              <a:rPr lang="de-DE" altLang="ko-Kore-DE" dirty="0"/>
              <a:t> </a:t>
            </a:r>
            <a:r>
              <a:rPr lang="de-DE" altLang="ko-Kore-DE" dirty="0" err="1"/>
              <a:t>theorem</a:t>
            </a:r>
            <a:r>
              <a:rPr lang="de-DE" altLang="ko-Kore-DE" dirty="0"/>
              <a:t> </a:t>
            </a:r>
            <a:r>
              <a:rPr lang="de-DE" altLang="ko-Kore-DE" dirty="0" err="1"/>
              <a:t>for</a:t>
            </a:r>
            <a:r>
              <a:rPr lang="de-DE" altLang="ko-Kore-DE" dirty="0"/>
              <a:t> differential </a:t>
            </a:r>
            <a:r>
              <a:rPr lang="de-DE" altLang="ko-Kore-DE" dirty="0" err="1"/>
              <a:t>privacy</a:t>
            </a:r>
            <a:r>
              <a:rPr lang="de-DE" altLang="ko-Kore-DE" dirty="0"/>
              <a:t>,” in Int. </a:t>
            </a:r>
            <a:r>
              <a:rPr lang="de-DE" altLang="ko-Kore-DE" dirty="0" err="1"/>
              <a:t>Conf</a:t>
            </a:r>
            <a:r>
              <a:rPr lang="de-DE" altLang="ko-Kore-DE" dirty="0"/>
              <a:t>. Mach. </a:t>
            </a:r>
            <a:r>
              <a:rPr lang="de-DE" altLang="ko-Kore-DE" dirty="0" err="1"/>
              <a:t>Learn</a:t>
            </a:r>
            <a:r>
              <a:rPr lang="de-DE" altLang="ko-Kore-DE" dirty="0"/>
              <a:t>., Lille, France, </a:t>
            </a:r>
            <a:r>
              <a:rPr lang="de-DE" altLang="ko-Kore-DE" dirty="0" err="1"/>
              <a:t>July</a:t>
            </a:r>
            <a:r>
              <a:rPr lang="de-DE" altLang="ko-Kore-DE" dirty="0"/>
              <a:t> 2015, pp. 1376–1385.</a:t>
            </a:r>
          </a:p>
          <a:p>
            <a:endParaRPr lang="de-DE" altLang="ko-Kore-DE" dirty="0"/>
          </a:p>
          <a:p>
            <a:endParaRPr lang="de-DE" altLang="ko-Kore-DE" dirty="0"/>
          </a:p>
          <a:p>
            <a:endParaRPr kumimoji="1" lang="ko-Kore-DE" altLang="en-US" dirty="0"/>
          </a:p>
        </p:txBody>
      </p:sp>
    </p:spTree>
    <p:extLst>
      <p:ext uri="{BB962C8B-B14F-4D97-AF65-F5344CB8AC3E}">
        <p14:creationId xmlns:p14="http://schemas.microsoft.com/office/powerpoint/2010/main" val="24178283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CE714A-BB47-7D4A-9262-D4D0E0C95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55" y="800334"/>
            <a:ext cx="8061325" cy="302262"/>
          </a:xfrm>
        </p:spPr>
        <p:txBody>
          <a:bodyPr/>
          <a:lstStyle/>
          <a:p>
            <a:r>
              <a:rPr kumimoji="1" lang="en-US" altLang="ko-Kore-DE" sz="2400" dirty="0"/>
              <a:t>Motivation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Federated Learning [1]</a:t>
            </a:r>
            <a:endParaRPr kumimoji="1" lang="ko-Kore-DE" altLang="en-US" sz="24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F197FDF-E632-0545-8924-B76353BA3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101" y="4573434"/>
            <a:ext cx="8061325" cy="1632111"/>
          </a:xfrm>
        </p:spPr>
        <p:txBody>
          <a:bodyPr/>
          <a:lstStyle/>
          <a:p>
            <a:pPr marL="0" indent="0">
              <a:lnSpc>
                <a:spcPct val="150000"/>
              </a:lnSpc>
            </a:pPr>
            <a:r>
              <a:rPr kumimoji="1" lang="en-US" altLang="ko-KR" sz="1600" dirty="0">
                <a:latin typeface="Helvetica" pitchFamily="2" charset="0"/>
              </a:rPr>
              <a:t>+</a:t>
            </a:r>
            <a:r>
              <a:rPr kumimoji="1" lang="en-US" altLang="ko-KR" sz="1400" dirty="0">
                <a:latin typeface="Helvetica" pitchFamily="2" charset="0"/>
              </a:rPr>
              <a:t> </a:t>
            </a:r>
            <a:r>
              <a:rPr kumimoji="1" lang="en-US" altLang="ko-KR" sz="1400" b="1" dirty="0">
                <a:solidFill>
                  <a:schemeClr val="accent6">
                    <a:lumMod val="50000"/>
                  </a:schemeClr>
                </a:solidFill>
                <a:latin typeface="Helvetica" pitchFamily="2" charset="0"/>
              </a:rPr>
              <a:t>Privacy</a:t>
            </a:r>
            <a:r>
              <a:rPr kumimoji="1" lang="en-US" altLang="ko-KR" sz="1400" dirty="0">
                <a:latin typeface="Helvetica" pitchFamily="2" charset="0"/>
              </a:rPr>
              <a:t>: private user data remain at users</a:t>
            </a:r>
          </a:p>
          <a:p>
            <a:pPr marL="0" indent="0">
              <a:lnSpc>
                <a:spcPct val="150000"/>
              </a:lnSpc>
            </a:pPr>
            <a:r>
              <a:rPr kumimoji="1" lang="en-US" altLang="ko-Kore-DE" sz="1600" dirty="0">
                <a:latin typeface="Helvetica" pitchFamily="2" charset="0"/>
              </a:rPr>
              <a:t>+</a:t>
            </a:r>
            <a:r>
              <a:rPr kumimoji="1" lang="en-US" altLang="ko-Kore-DE" sz="1400" dirty="0">
                <a:latin typeface="Helvetica" pitchFamily="2" charset="0"/>
              </a:rPr>
              <a:t> strong </a:t>
            </a:r>
            <a:r>
              <a:rPr kumimoji="1" lang="en-US" altLang="ko-Kore-DE" sz="1400" b="1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learning performance </a:t>
            </a:r>
            <a:r>
              <a:rPr kumimoji="1" lang="en-US" altLang="ko-Kore-DE" sz="1400" dirty="0">
                <a:latin typeface="Helvetica" pitchFamily="2" charset="0"/>
              </a:rPr>
              <a:t>by collaboration</a:t>
            </a:r>
          </a:p>
          <a:p>
            <a:pPr marL="0" indent="0">
              <a:lnSpc>
                <a:spcPct val="150000"/>
              </a:lnSpc>
            </a:pPr>
            <a:r>
              <a:rPr kumimoji="1" lang="en-US" altLang="ko-KR" sz="1600" dirty="0">
                <a:latin typeface="Helvetica" pitchFamily="2" charset="0"/>
              </a:rPr>
              <a:t>-</a:t>
            </a:r>
            <a:r>
              <a:rPr kumimoji="1" lang="en-US" altLang="ko-Kore-DE" sz="1400" dirty="0">
                <a:latin typeface="Helvetica" pitchFamily="2" charset="0"/>
              </a:rPr>
              <a:t> Iterative </a:t>
            </a:r>
            <a:r>
              <a:rPr kumimoji="1" lang="en-US" altLang="ko-Kore-DE" sz="1400" b="1" dirty="0">
                <a:solidFill>
                  <a:srgbClr val="C50F20"/>
                </a:solidFill>
                <a:latin typeface="Helvetica" pitchFamily="2" charset="0"/>
              </a:rPr>
              <a:t>communication costs</a:t>
            </a:r>
          </a:p>
          <a:p>
            <a:pPr marL="0" indent="0">
              <a:lnSpc>
                <a:spcPct val="150000"/>
              </a:lnSpc>
            </a:pPr>
            <a:r>
              <a:rPr kumimoji="1" lang="en-US" altLang="ko-Kore-DE" sz="1600" dirty="0">
                <a:latin typeface="Helvetica" pitchFamily="2" charset="0"/>
              </a:rPr>
              <a:t>-</a:t>
            </a:r>
            <a:r>
              <a:rPr kumimoji="1" lang="en-US" altLang="ko-Kore-DE" sz="1400" dirty="0">
                <a:latin typeface="Helvetica" pitchFamily="2" charset="0"/>
              </a:rPr>
              <a:t> </a:t>
            </a:r>
            <a:r>
              <a:rPr kumimoji="1" lang="en-US" altLang="ko-Kore-DE" sz="1400" u="sng" dirty="0">
                <a:latin typeface="Helvetica" pitchFamily="2" charset="0"/>
              </a:rPr>
              <a:t>Local model parameters can still leak information of user data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DABE4F2-BF2A-5F40-8C95-136679CA5BB2}"/>
              </a:ext>
            </a:extLst>
          </p:cNvPr>
          <p:cNvSpPr/>
          <p:nvPr/>
        </p:nvSpPr>
        <p:spPr>
          <a:xfrm>
            <a:off x="354917" y="6328145"/>
            <a:ext cx="8458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altLang="ko-Kore-DE" sz="800" dirty="0"/>
              <a:t>[1] B. </a:t>
            </a:r>
            <a:r>
              <a:rPr lang="de-DE" altLang="ko-Kore-DE" sz="800" dirty="0" err="1"/>
              <a:t>McMahan</a:t>
            </a:r>
            <a:r>
              <a:rPr lang="de-DE" altLang="ko-Kore-DE" sz="800" dirty="0"/>
              <a:t>, E. Moore, D. </a:t>
            </a:r>
            <a:r>
              <a:rPr lang="de-DE" altLang="ko-Kore-DE" sz="800" dirty="0" err="1"/>
              <a:t>Ramage</a:t>
            </a:r>
            <a:r>
              <a:rPr lang="de-DE" altLang="ko-Kore-DE" sz="800" dirty="0"/>
              <a:t>, S. </a:t>
            </a:r>
            <a:r>
              <a:rPr lang="de-DE" altLang="ko-Kore-DE" sz="800" dirty="0" err="1"/>
              <a:t>Hampson</a:t>
            </a:r>
            <a:r>
              <a:rPr lang="de-DE" altLang="ko-Kore-DE" sz="800" dirty="0"/>
              <a:t>,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B. A. </a:t>
            </a:r>
            <a:r>
              <a:rPr lang="de-DE" altLang="ko-Kore-DE" sz="800" dirty="0" err="1"/>
              <a:t>y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Arcas</a:t>
            </a:r>
            <a:r>
              <a:rPr lang="de-DE" altLang="ko-Kore-DE" sz="800" dirty="0"/>
              <a:t>, “Communication-</a:t>
            </a:r>
            <a:r>
              <a:rPr lang="de-DE" altLang="ko-Kore-DE" sz="800" dirty="0" err="1"/>
              <a:t>efficient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learning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of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deep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networks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from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decentralized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data</a:t>
            </a:r>
            <a:r>
              <a:rPr lang="de-DE" altLang="ko-Kore-DE" sz="800" dirty="0"/>
              <a:t>,” in Int. </a:t>
            </a:r>
            <a:r>
              <a:rPr lang="de-DE" altLang="ko-Kore-DE" sz="800" dirty="0" err="1"/>
              <a:t>Conf</a:t>
            </a:r>
            <a:r>
              <a:rPr lang="de-DE" altLang="ko-Kore-DE" sz="800" dirty="0"/>
              <a:t>. </a:t>
            </a:r>
            <a:r>
              <a:rPr lang="de-DE" altLang="ko-Kore-DE" sz="800" dirty="0" err="1"/>
              <a:t>Artif</a:t>
            </a:r>
            <a:r>
              <a:rPr lang="de-DE" altLang="ko-Kore-DE" sz="800" dirty="0"/>
              <a:t>. </a:t>
            </a:r>
            <a:r>
              <a:rPr lang="de-DE" altLang="ko-Kore-DE" sz="800" dirty="0" err="1"/>
              <a:t>Intell</a:t>
            </a:r>
            <a:r>
              <a:rPr lang="de-DE" altLang="ko-Kore-DE" sz="800" dirty="0"/>
              <a:t>. Statist., </a:t>
            </a:r>
            <a:r>
              <a:rPr lang="de-DE" altLang="ko-Kore-DE" sz="800" dirty="0" err="1"/>
              <a:t>Ft</a:t>
            </a:r>
            <a:r>
              <a:rPr lang="de-DE" altLang="ko-Kore-DE" sz="800" dirty="0"/>
              <a:t>. Lauderdale, FL, Apr. 2017, pp. 1273–1282.</a:t>
            </a: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4417485B-27BB-FB48-9055-3748CA3A303C}"/>
              </a:ext>
            </a:extLst>
          </p:cNvPr>
          <p:cNvGrpSpPr/>
          <p:nvPr/>
        </p:nvGrpSpPr>
        <p:grpSpPr>
          <a:xfrm>
            <a:off x="2826746" y="1308949"/>
            <a:ext cx="4379694" cy="2697535"/>
            <a:chOff x="1155601" y="1192189"/>
            <a:chExt cx="4379694" cy="269753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94CD4E6-CF9B-DB4A-AD6C-632B8B04A2FE}"/>
                </a:ext>
              </a:extLst>
            </p:cNvPr>
            <p:cNvGrpSpPr/>
            <p:nvPr/>
          </p:nvGrpSpPr>
          <p:grpSpPr>
            <a:xfrm>
              <a:off x="1155601" y="2717502"/>
              <a:ext cx="847064" cy="926614"/>
              <a:chOff x="2551845" y="4187915"/>
              <a:chExt cx="847064" cy="926614"/>
            </a:xfrm>
          </p:grpSpPr>
          <p:pic>
            <p:nvPicPr>
              <p:cNvPr id="7" name="그림 6">
                <a:extLst>
                  <a:ext uri="{FF2B5EF4-FFF2-40B4-BE49-F238E27FC236}">
                    <a16:creationId xmlns:a16="http://schemas.microsoft.com/office/drawing/2014/main" id="{D7AC92F0-C2FC-734C-A184-5459A40514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25518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8" name="그림 7">
                <a:extLst>
                  <a:ext uri="{FF2B5EF4-FFF2-40B4-BE49-F238E27FC236}">
                    <a16:creationId xmlns:a16="http://schemas.microsoft.com/office/drawing/2014/main" id="{5295191F-EB20-D048-9381-DC5ABDAA9C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93209" y="4276893"/>
                <a:ext cx="386886" cy="322832"/>
              </a:xfrm>
              <a:prstGeom prst="rect">
                <a:avLst/>
              </a:prstGeom>
            </p:spPr>
          </p:pic>
        </p:grp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5735AF4F-E802-C94E-AFB1-F305FD9B0B38}"/>
                </a:ext>
              </a:extLst>
            </p:cNvPr>
            <p:cNvGrpSpPr/>
            <p:nvPr/>
          </p:nvGrpSpPr>
          <p:grpSpPr>
            <a:xfrm>
              <a:off x="2372046" y="1192189"/>
              <a:ext cx="1018595" cy="926614"/>
              <a:chOff x="1763703" y="2698497"/>
              <a:chExt cx="1018595" cy="926614"/>
            </a:xfrm>
          </p:grpSpPr>
          <p:pic>
            <p:nvPicPr>
              <p:cNvPr id="5" name="그림 4">
                <a:extLst>
                  <a:ext uri="{FF2B5EF4-FFF2-40B4-BE49-F238E27FC236}">
                    <a16:creationId xmlns:a16="http://schemas.microsoft.com/office/drawing/2014/main" id="{22F79554-4D9F-8941-AF8E-88C5D37086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b="12626"/>
              <a:stretch/>
            </p:blipFill>
            <p:spPr>
              <a:xfrm>
                <a:off x="1763703" y="2698497"/>
                <a:ext cx="1018595" cy="926614"/>
              </a:xfrm>
              <a:prstGeom prst="rect">
                <a:avLst/>
              </a:prstGeom>
            </p:spPr>
          </p:pic>
          <p:pic>
            <p:nvPicPr>
              <p:cNvPr id="10" name="그림 9">
                <a:extLst>
                  <a:ext uri="{FF2B5EF4-FFF2-40B4-BE49-F238E27FC236}">
                    <a16:creationId xmlns:a16="http://schemas.microsoft.com/office/drawing/2014/main" id="{852969AB-CB4F-DF45-9DE0-22CF3B7446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54226" y="3055745"/>
                <a:ext cx="500609" cy="417727"/>
              </a:xfrm>
              <a:prstGeom prst="rect">
                <a:avLst/>
              </a:prstGeom>
            </p:spPr>
          </p:pic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AA2C426-59DB-0641-BE29-0A8EEB2C4776}"/>
                </a:ext>
              </a:extLst>
            </p:cNvPr>
            <p:cNvGrpSpPr/>
            <p:nvPr/>
          </p:nvGrpSpPr>
          <p:grpSpPr>
            <a:xfrm>
              <a:off x="2457812" y="2717502"/>
              <a:ext cx="847064" cy="926614"/>
              <a:chOff x="2809345" y="4187915"/>
              <a:chExt cx="847064" cy="926614"/>
            </a:xfrm>
          </p:grpSpPr>
          <p:pic>
            <p:nvPicPr>
              <p:cNvPr id="13" name="그림 12">
                <a:extLst>
                  <a:ext uri="{FF2B5EF4-FFF2-40B4-BE49-F238E27FC236}">
                    <a16:creationId xmlns:a16="http://schemas.microsoft.com/office/drawing/2014/main" id="{9FE781C2-35D7-0D4D-A812-3EFAA18396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28093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14" name="그림 13">
                <a:extLst>
                  <a:ext uri="{FF2B5EF4-FFF2-40B4-BE49-F238E27FC236}">
                    <a16:creationId xmlns:a16="http://schemas.microsoft.com/office/drawing/2014/main" id="{0372A0C9-4E0C-3143-8E03-C092D2E2B6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050709" y="4276893"/>
                <a:ext cx="386886" cy="322832"/>
              </a:xfrm>
              <a:prstGeom prst="rect">
                <a:avLst/>
              </a:prstGeom>
            </p:spPr>
          </p:pic>
        </p:grpSp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C796474A-24ED-4845-B60A-7EC254FCE54C}"/>
                </a:ext>
              </a:extLst>
            </p:cNvPr>
            <p:cNvGrpSpPr/>
            <p:nvPr/>
          </p:nvGrpSpPr>
          <p:grpSpPr>
            <a:xfrm>
              <a:off x="3760023" y="2717502"/>
              <a:ext cx="847064" cy="926614"/>
              <a:chOff x="3066845" y="4187915"/>
              <a:chExt cx="847064" cy="926614"/>
            </a:xfrm>
          </p:grpSpPr>
          <p:pic>
            <p:nvPicPr>
              <p:cNvPr id="16" name="그림 15">
                <a:extLst>
                  <a:ext uri="{FF2B5EF4-FFF2-40B4-BE49-F238E27FC236}">
                    <a16:creationId xmlns:a16="http://schemas.microsoft.com/office/drawing/2014/main" id="{0E2DB4E8-B18E-F14F-9036-792ACF7905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30668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17" name="그림 16">
                <a:extLst>
                  <a:ext uri="{FF2B5EF4-FFF2-40B4-BE49-F238E27FC236}">
                    <a16:creationId xmlns:a16="http://schemas.microsoft.com/office/drawing/2014/main" id="{3478BC42-E738-1243-9F8A-090430020E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08209" y="4276893"/>
                <a:ext cx="386886" cy="322832"/>
              </a:xfrm>
              <a:prstGeom prst="rect">
                <a:avLst/>
              </a:prstGeom>
            </p:spPr>
          </p:pic>
        </p:grpSp>
        <p:cxnSp>
          <p:nvCxnSpPr>
            <p:cNvPr id="19" name="꺾인 연결선[E] 18">
              <a:extLst>
                <a:ext uri="{FF2B5EF4-FFF2-40B4-BE49-F238E27FC236}">
                  <a16:creationId xmlns:a16="http://schemas.microsoft.com/office/drawing/2014/main" id="{F4DFE2AF-AA13-4A44-8691-805018CC9A88}"/>
                </a:ext>
              </a:extLst>
            </p:cNvPr>
            <p:cNvCxnSpPr>
              <a:cxnSpLocks/>
              <a:stCxn id="5" idx="2"/>
              <a:endCxn id="7" idx="0"/>
            </p:cNvCxnSpPr>
            <p:nvPr/>
          </p:nvCxnSpPr>
          <p:spPr bwMode="auto">
            <a:xfrm rot="5400000">
              <a:off x="1930890" y="1767047"/>
              <a:ext cx="598699" cy="1302211"/>
            </a:xfrm>
            <a:prstGeom prst="bentConnector3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" name="꺾인 연결선[E] 20">
              <a:extLst>
                <a:ext uri="{FF2B5EF4-FFF2-40B4-BE49-F238E27FC236}">
                  <a16:creationId xmlns:a16="http://schemas.microsoft.com/office/drawing/2014/main" id="{1AA7D9F0-F428-9F43-BB03-FA181118700F}"/>
                </a:ext>
              </a:extLst>
            </p:cNvPr>
            <p:cNvCxnSpPr>
              <a:cxnSpLocks/>
              <a:stCxn id="5" idx="2"/>
              <a:endCxn id="16" idx="0"/>
            </p:cNvCxnSpPr>
            <p:nvPr/>
          </p:nvCxnSpPr>
          <p:spPr bwMode="auto">
            <a:xfrm rot="16200000" flipH="1">
              <a:off x="3233100" y="1767046"/>
              <a:ext cx="598699" cy="1302211"/>
            </a:xfrm>
            <a:prstGeom prst="bentConnector3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3" name="직선 화살표 연결선 22">
              <a:extLst>
                <a:ext uri="{FF2B5EF4-FFF2-40B4-BE49-F238E27FC236}">
                  <a16:creationId xmlns:a16="http://schemas.microsoft.com/office/drawing/2014/main" id="{09279232-7DD2-764A-B6D0-7492DEBA7771}"/>
                </a:ext>
              </a:extLst>
            </p:cNvPr>
            <p:cNvCxnSpPr>
              <a:cxnSpLocks/>
              <a:stCxn id="5" idx="2"/>
              <a:endCxn id="13" idx="0"/>
            </p:cNvCxnSpPr>
            <p:nvPr/>
          </p:nvCxnSpPr>
          <p:spPr bwMode="auto">
            <a:xfrm>
              <a:off x="2881344" y="2118803"/>
              <a:ext cx="0" cy="598699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0E53F02-B5CB-2049-8C44-ED545ED7E006}"/>
                </a:ext>
              </a:extLst>
            </p:cNvPr>
            <p:cNvSpPr txBox="1"/>
            <p:nvPr/>
          </p:nvSpPr>
          <p:spPr>
            <a:xfrm>
              <a:off x="3304876" y="1597039"/>
              <a:ext cx="115448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lobal Model</a:t>
              </a:r>
              <a:endParaRPr kumimoji="1" lang="ko-Kore-DE" alt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6C698B4-81DD-9643-AC43-3306A1EE839F}"/>
                </a:ext>
              </a:extLst>
            </p:cNvPr>
            <p:cNvSpPr txBox="1"/>
            <p:nvPr/>
          </p:nvSpPr>
          <p:spPr>
            <a:xfrm>
              <a:off x="4459359" y="2829396"/>
              <a:ext cx="107593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cal Model</a:t>
              </a:r>
              <a:endParaRPr kumimoji="1" lang="ko-Kore-DE" alt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79CA92FF-28EE-F24C-93B2-A0E52C699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07598" y="3277679"/>
              <a:ext cx="302262" cy="302262"/>
            </a:xfrm>
            <a:prstGeom prst="rect">
              <a:avLst/>
            </a:prstGeom>
          </p:spPr>
        </p:pic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CCFD6D8B-56E0-6B40-B182-9E5ED4CE7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49186" y="3277679"/>
              <a:ext cx="302262" cy="302262"/>
            </a:xfrm>
            <a:prstGeom prst="rect">
              <a:avLst/>
            </a:prstGeom>
          </p:spPr>
        </p:pic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id="{51706A23-0B67-9145-84E9-5392078B3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0775" y="3277679"/>
              <a:ext cx="302262" cy="302262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B26EA78-F165-A946-845E-4AAB7F88DDB5}"/>
                </a:ext>
              </a:extLst>
            </p:cNvPr>
            <p:cNvSpPr txBox="1"/>
            <p:nvPr/>
          </p:nvSpPr>
          <p:spPr>
            <a:xfrm>
              <a:off x="4218512" y="3612725"/>
              <a:ext cx="10711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ivate Data</a:t>
              </a:r>
              <a:endParaRPr kumimoji="1" lang="ko-Kore-DE" alt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412464A3-E347-B342-9385-F9CC4E9BA1BD}"/>
              </a:ext>
            </a:extLst>
          </p:cNvPr>
          <p:cNvSpPr/>
          <p:nvPr/>
        </p:nvSpPr>
        <p:spPr>
          <a:xfrm>
            <a:off x="2111224" y="4097823"/>
            <a:ext cx="4945586" cy="3842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ore-DE" sz="1400" b="1" dirty="0">
                <a:latin typeface="Helvetica" pitchFamily="2" charset="0"/>
              </a:rPr>
              <a:t>Locally</a:t>
            </a:r>
            <a:r>
              <a:rPr kumimoji="1" lang="en-US" altLang="ko-Kore-DE" sz="1400" dirty="0">
                <a:latin typeface="Helvetica" pitchFamily="2" charset="0"/>
              </a:rPr>
              <a:t> trained models </a:t>
            </a:r>
            <a:r>
              <a:rPr kumimoji="1" lang="en-US" altLang="ko-Kore-DE" sz="1400" b="1" dirty="0">
                <a:latin typeface="Helvetica" pitchFamily="2" charset="0"/>
              </a:rPr>
              <a:t>federating</a:t>
            </a:r>
            <a:r>
              <a:rPr kumimoji="1" lang="en-US" altLang="ko-Kore-DE" sz="1400" dirty="0">
                <a:latin typeface="Helvetica" pitchFamily="2" charset="0"/>
              </a:rPr>
              <a:t> to train the global model </a:t>
            </a:r>
            <a:endParaRPr kumimoji="1" lang="en-US" altLang="ko-KR" sz="14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38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CE714A-BB47-7D4A-9262-D4D0E0C95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8" y="822374"/>
            <a:ext cx="8061325" cy="302262"/>
          </a:xfrm>
        </p:spPr>
        <p:txBody>
          <a:bodyPr/>
          <a:lstStyle/>
          <a:p>
            <a:r>
              <a:rPr kumimoji="1" lang="en-US" altLang="ko-Kore-DE" sz="2400" dirty="0"/>
              <a:t>Motivation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Privacy of Machine Learning</a:t>
            </a:r>
            <a:endParaRPr kumimoji="1" lang="ko-Kore-DE" altLang="en-US" sz="24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F197FDF-E632-0545-8924-B76353BA3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47" y="4139970"/>
            <a:ext cx="8061325" cy="1440625"/>
          </a:xfrm>
        </p:spPr>
        <p:txBody>
          <a:bodyPr/>
          <a:lstStyle/>
          <a:p>
            <a:pPr marL="0" indent="0">
              <a:lnSpc>
                <a:spcPct val="150000"/>
              </a:lnSpc>
            </a:pPr>
            <a:r>
              <a:rPr kumimoji="1" lang="en-US" altLang="ko-Kore-DE" sz="1400" dirty="0">
                <a:latin typeface="Helvetica" pitchFamily="2" charset="0"/>
              </a:rPr>
              <a:t>Training data can be inferred by the local model information. 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Þ"/>
            </a:pP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FL still </a:t>
            </a:r>
            <a:r>
              <a:rPr kumimoji="1" lang="en-US" altLang="ko-KR" sz="1400" dirty="0">
                <a:solidFill>
                  <a:schemeClr val="tx1"/>
                </a:solidFill>
                <a:latin typeface="Helvetica" pitchFamily="2" charset="0"/>
              </a:rPr>
              <a:t>needs</a:t>
            </a: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kumimoji="1" lang="en-US" altLang="ko-Kore-DE" sz="1400" b="1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Privacy Preserving Schemes</a:t>
            </a:r>
            <a:r>
              <a:rPr kumimoji="1" lang="en-US" altLang="ko-Kore-DE" sz="1400" b="1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e.g.</a:t>
            </a:r>
            <a:r>
              <a:rPr kumimoji="1" lang="en-US" altLang="ko-Kore-DE" sz="1400" b="1" dirty="0">
                <a:solidFill>
                  <a:schemeClr val="tx1"/>
                </a:solidFill>
                <a:latin typeface="Helvetica" pitchFamily="2" charset="0"/>
              </a:rPr>
              <a:t> Gaussian mechanism.</a:t>
            </a: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Þ"/>
            </a:pP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Privacy preserving scheme might </a:t>
            </a:r>
            <a:r>
              <a:rPr kumimoji="1" lang="en-US" altLang="ko-Kore-DE" sz="1400" b="1" dirty="0">
                <a:solidFill>
                  <a:srgbClr val="C50F20"/>
                </a:solidFill>
                <a:latin typeface="Helvetica" pitchFamily="2" charset="0"/>
              </a:rPr>
              <a:t>degrade</a:t>
            </a:r>
            <a:r>
              <a:rPr kumimoji="1" lang="en-US" altLang="ko-Kore-DE" sz="1400" b="1" dirty="0">
                <a:solidFill>
                  <a:schemeClr val="tx1"/>
                </a:solidFill>
                <a:latin typeface="Helvetica" pitchFamily="2" charset="0"/>
              </a:rPr>
              <a:t> </a:t>
            </a:r>
            <a:r>
              <a:rPr kumimoji="1" lang="en-US" altLang="ko-Kore-DE" sz="1400" b="1" dirty="0">
                <a:solidFill>
                  <a:srgbClr val="C50F20"/>
                </a:solidFill>
                <a:latin typeface="Helvetica" pitchFamily="2" charset="0"/>
              </a:rPr>
              <a:t>the learning performance </a:t>
            </a: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and </a:t>
            </a:r>
            <a:r>
              <a:rPr kumimoji="1" lang="en-US" altLang="ko-Kore-DE" sz="1400" b="1" dirty="0">
                <a:solidFill>
                  <a:srgbClr val="C50F20"/>
                </a:solidFill>
                <a:latin typeface="Helvetica" pitchFamily="2" charset="0"/>
              </a:rPr>
              <a:t>cause larger communication costs</a:t>
            </a:r>
            <a:r>
              <a:rPr kumimoji="1" lang="en-US" altLang="ko-Kore-DE" sz="1400" dirty="0">
                <a:solidFill>
                  <a:schemeClr val="tx1"/>
                </a:solidFill>
                <a:latin typeface="Helvetica" pitchFamily="2" charset="0"/>
              </a:rPr>
              <a:t>. 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DABE4F2-BF2A-5F40-8C95-136679CA5BB2}"/>
              </a:ext>
            </a:extLst>
          </p:cNvPr>
          <p:cNvSpPr/>
          <p:nvPr/>
        </p:nvSpPr>
        <p:spPr>
          <a:xfrm>
            <a:off x="342900" y="6232145"/>
            <a:ext cx="8458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altLang="ko-Kore-DE" sz="800" dirty="0"/>
              <a:t>[2] </a:t>
            </a:r>
            <a:r>
              <a:rPr lang="de-DE" altLang="ko-Kore-DE" sz="800" dirty="0" err="1"/>
              <a:t>Fredrikson</a:t>
            </a:r>
            <a:r>
              <a:rPr lang="de-DE" altLang="ko-Kore-DE" sz="800" dirty="0"/>
              <a:t>, M., </a:t>
            </a:r>
            <a:r>
              <a:rPr lang="de-DE" altLang="ko-Kore-DE" sz="800" dirty="0" err="1"/>
              <a:t>Jha</a:t>
            </a:r>
            <a:r>
              <a:rPr lang="de-DE" altLang="ko-Kore-DE" sz="800" dirty="0"/>
              <a:t>, S., &amp; </a:t>
            </a:r>
            <a:r>
              <a:rPr lang="de-DE" altLang="ko-Kore-DE" sz="800" dirty="0" err="1"/>
              <a:t>Ristenpart</a:t>
            </a:r>
            <a:r>
              <a:rPr lang="de-DE" altLang="ko-Kore-DE" sz="800" dirty="0"/>
              <a:t>, T. (2015). Model Inversion </a:t>
            </a:r>
            <a:r>
              <a:rPr lang="de-DE" altLang="ko-Kore-DE" sz="800" dirty="0" err="1"/>
              <a:t>Attacks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that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Exploit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Confidence</a:t>
            </a:r>
            <a:r>
              <a:rPr lang="de-DE" altLang="ko-Kore-DE" sz="800" dirty="0"/>
              <a:t> Information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Basic </a:t>
            </a:r>
            <a:r>
              <a:rPr lang="de-DE" altLang="ko-Kore-DE" sz="800" dirty="0" err="1"/>
              <a:t>Countermeasures</a:t>
            </a:r>
            <a:r>
              <a:rPr lang="de-DE" altLang="ko-Kore-DE" sz="800" dirty="0"/>
              <a:t>. </a:t>
            </a:r>
            <a:r>
              <a:rPr lang="de-DE" altLang="ko-Kore-DE" sz="800" i="1" dirty="0" err="1"/>
              <a:t>Proceedings</a:t>
            </a:r>
            <a:r>
              <a:rPr lang="de-DE" altLang="ko-Kore-DE" sz="800" i="1" dirty="0"/>
              <a:t> </a:t>
            </a:r>
            <a:r>
              <a:rPr lang="de-DE" altLang="ko-Kore-DE" sz="800" i="1" dirty="0" err="1"/>
              <a:t>of</a:t>
            </a:r>
            <a:r>
              <a:rPr lang="de-DE" altLang="ko-Kore-DE" sz="800" i="1" dirty="0"/>
              <a:t> </a:t>
            </a:r>
            <a:r>
              <a:rPr lang="de-DE" altLang="ko-Kore-DE" sz="800" i="1" dirty="0" err="1"/>
              <a:t>the</a:t>
            </a:r>
            <a:r>
              <a:rPr lang="de-DE" altLang="ko-Kore-DE" sz="800" i="1" dirty="0"/>
              <a:t> 22nd ACM SIGSAC Conference on Computer </a:t>
            </a:r>
            <a:r>
              <a:rPr lang="de-DE" altLang="ko-Kore-DE" sz="800" i="1" dirty="0" err="1"/>
              <a:t>and</a:t>
            </a:r>
            <a:r>
              <a:rPr lang="de-DE" altLang="ko-Kore-DE" sz="800" i="1" dirty="0"/>
              <a:t> Communications Security</a:t>
            </a:r>
            <a:r>
              <a:rPr lang="de-DE" altLang="ko-Kore-DE" sz="800" dirty="0"/>
              <a:t>.</a:t>
            </a:r>
          </a:p>
        </p:txBody>
      </p:sp>
      <p:pic>
        <p:nvPicPr>
          <p:cNvPr id="6" name="그림 5" descr="남자, 안경, 가장, 응시하는이(가) 표시된 사진&#10;&#10;자동 생성된 설명">
            <a:extLst>
              <a:ext uri="{FF2B5EF4-FFF2-40B4-BE49-F238E27FC236}">
                <a16:creationId xmlns:a16="http://schemas.microsoft.com/office/drawing/2014/main" id="{15062D3A-EC1B-124F-9B6D-F12979460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8809" y="1808049"/>
            <a:ext cx="2743200" cy="1384300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1740D822-02A8-1242-BAF7-51183F5685BC}"/>
              </a:ext>
            </a:extLst>
          </p:cNvPr>
          <p:cNvSpPr/>
          <p:nvPr/>
        </p:nvSpPr>
        <p:spPr>
          <a:xfrm>
            <a:off x="3421794" y="1312454"/>
            <a:ext cx="22972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ko-Kore-DE" sz="1400" dirty="0">
                <a:latin typeface="Arial" panose="020B0604020202020204" pitchFamily="34" charset="0"/>
                <a:cs typeface="Arial" panose="020B0604020202020204" pitchFamily="34" charset="0"/>
              </a:rPr>
              <a:t>Model Inversion Attacks </a:t>
            </a:r>
            <a:r>
              <a:rPr kumimoji="1" lang="en-US" altLang="ko-Kore-DE" dirty="0">
                <a:latin typeface="Arial" panose="020B0604020202020204" pitchFamily="34" charset="0"/>
                <a:cs typeface="Arial" panose="020B0604020202020204" pitchFamily="34" charset="0"/>
              </a:rPr>
              <a:t>[2]</a:t>
            </a:r>
            <a:endParaRPr lang="ko-Kor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D3446D6-E341-4149-8C7A-094DCB81D5C0}"/>
              </a:ext>
            </a:extLst>
          </p:cNvPr>
          <p:cNvSpPr/>
          <p:nvPr/>
        </p:nvSpPr>
        <p:spPr>
          <a:xfrm>
            <a:off x="2811702" y="3320679"/>
            <a:ext cx="18646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ko-Kore-DE" sz="1400" dirty="0">
                <a:latin typeface="Arial" panose="020B0604020202020204" pitchFamily="34" charset="0"/>
                <a:cs typeface="Arial" panose="020B0604020202020204" pitchFamily="34" charset="0"/>
              </a:rPr>
              <a:t>Recovered</a:t>
            </a:r>
          </a:p>
          <a:p>
            <a:r>
              <a:rPr kumimoji="1" lang="en-US" altLang="ko-Kore-DE" sz="1400" dirty="0">
                <a:latin typeface="Arial" panose="020B0604020202020204" pitchFamily="34" charset="0"/>
                <a:cs typeface="Arial" panose="020B0604020202020204" pitchFamily="34" charset="0"/>
              </a:rPr>
              <a:t>by model parameters</a:t>
            </a:r>
            <a:endParaRPr lang="ko-Kor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9BDCA19-1BBB-6F40-853C-DEF48CD8EE0F}"/>
              </a:ext>
            </a:extLst>
          </p:cNvPr>
          <p:cNvSpPr/>
          <p:nvPr/>
        </p:nvSpPr>
        <p:spPr>
          <a:xfrm>
            <a:off x="4985609" y="3320679"/>
            <a:ext cx="8240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ko-Kore-DE" sz="1400" dirty="0"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</a:p>
          <a:p>
            <a:r>
              <a:rPr kumimoji="1" lang="en-US" altLang="ko-Kore-DE" sz="1400" dirty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lang="ko-Kor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모서리가 둥근 직사각형 9">
            <a:extLst>
              <a:ext uri="{FF2B5EF4-FFF2-40B4-BE49-F238E27FC236}">
                <a16:creationId xmlns:a16="http://schemas.microsoft.com/office/drawing/2014/main" id="{26D141E2-2CBE-3445-8E58-AB2070BE370D}"/>
              </a:ext>
            </a:extLst>
          </p:cNvPr>
          <p:cNvSpPr/>
          <p:nvPr/>
        </p:nvSpPr>
        <p:spPr bwMode="auto">
          <a:xfrm>
            <a:off x="539747" y="5580595"/>
            <a:ext cx="8071945" cy="504497"/>
          </a:xfrm>
          <a:prstGeom prst="roundRect">
            <a:avLst/>
          </a:prstGeom>
          <a:solidFill>
            <a:schemeClr val="accent2">
              <a:lumMod val="60000"/>
              <a:lumOff val="40000"/>
              <a:alpha val="73211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ore-DE" sz="15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vacy</a:t>
            </a:r>
            <a:r>
              <a:rPr kumimoji="0" lang="en-US" altLang="ko-Kore-DE" sz="15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of FL model </a:t>
            </a:r>
            <a:r>
              <a:rPr lang="en-US" altLang="ko-Kore-DE" sz="1500" dirty="0"/>
              <a:t>should be jointly considered with </a:t>
            </a:r>
            <a:r>
              <a:rPr lang="en-US" altLang="ko-Kore-DE" sz="1500" b="1" dirty="0"/>
              <a:t>Utility</a:t>
            </a:r>
            <a:r>
              <a:rPr lang="en-US" altLang="ko-Kore-DE" sz="1500" dirty="0"/>
              <a:t> and </a:t>
            </a:r>
            <a:r>
              <a:rPr lang="en-US" altLang="ko-Kore-DE" sz="1500" b="1" dirty="0"/>
              <a:t>Communication</a:t>
            </a:r>
            <a:r>
              <a:rPr lang="en-US" altLang="ko-Kore-DE" sz="1500" dirty="0"/>
              <a:t> of it.</a:t>
            </a:r>
            <a:endParaRPr kumimoji="0" lang="ko-Kore-DE" altLang="en-US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76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9451577-3899-4B44-88E0-463530C79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705478"/>
            <a:ext cx="8061325" cy="302262"/>
          </a:xfrm>
        </p:spPr>
        <p:txBody>
          <a:bodyPr/>
          <a:lstStyle/>
          <a:p>
            <a:r>
              <a:rPr kumimoji="1" lang="en-US" altLang="ko-Kore-DE" sz="2400" dirty="0"/>
              <a:t>Main Contribution</a:t>
            </a:r>
            <a:endParaRPr kumimoji="1" lang="ko-Kore-DE" altLang="en-US" sz="24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74897F1-58D3-1740-8B77-FB08BD3B96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1268762"/>
            <a:ext cx="8061324" cy="3641725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latin typeface="Helvetica" pitchFamily="2" charset="0"/>
              </a:rPr>
              <a:t>The</a:t>
            </a:r>
            <a:r>
              <a:rPr kumimoji="1" lang="ko-KR" altLang="en-US" sz="1600" dirty="0">
                <a:latin typeface="Helvetica" pitchFamily="2" charset="0"/>
              </a:rPr>
              <a:t> </a:t>
            </a:r>
            <a:r>
              <a:rPr kumimoji="1" lang="en-US" altLang="ko-KR" sz="1600" dirty="0">
                <a:latin typeface="Helvetica" pitchFamily="2" charset="0"/>
              </a:rPr>
              <a:t>bounds of 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privacy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,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utility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,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and</a:t>
            </a:r>
            <a:r>
              <a:rPr kumimoji="1" lang="en-US" altLang="ko-KR" sz="1600" b="1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transmission rate</a:t>
            </a:r>
            <a:r>
              <a:rPr kumimoji="1" lang="en-US" altLang="ko-KR" sz="1600" dirty="0">
                <a:solidFill>
                  <a:schemeClr val="accent3">
                    <a:lumMod val="50000"/>
                  </a:schemeClr>
                </a:solidFill>
                <a:latin typeface="Helvetica" pitchFamily="2" charset="0"/>
              </a:rPr>
              <a:t> 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of an FL model are jointly analyzed, and their </a:t>
            </a:r>
            <a:r>
              <a:rPr kumimoji="1" lang="en-US" altLang="ko-KR" sz="1600" b="1" dirty="0">
                <a:solidFill>
                  <a:schemeClr val="tx1"/>
                </a:solidFill>
                <a:latin typeface="Helvetica" pitchFamily="2" charset="0"/>
              </a:rPr>
              <a:t>trade-off</a:t>
            </a: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 relationship is observed: </a:t>
            </a:r>
          </a:p>
          <a:p>
            <a:pPr marL="0" indent="0" algn="ctr">
              <a:lnSpc>
                <a:spcPct val="150000"/>
              </a:lnSpc>
            </a:pP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It causes more utility degradation and transmission rate to secure stronger privacy.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solidFill>
                  <a:schemeClr val="tx1"/>
                </a:solidFill>
                <a:latin typeface="Helvetica" pitchFamily="2" charset="0"/>
              </a:rPr>
              <a:t>The trade-offs are improved by adopting a</a:t>
            </a:r>
            <a:r>
              <a:rPr kumimoji="1" lang="en-US" altLang="ko-KR" sz="1600" dirty="0">
                <a:latin typeface="Helvetica" pitchFamily="2" charset="0"/>
              </a:rPr>
              <a:t>n enhanced privacy accounting method. [3]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kumimoji="1" lang="en-US" altLang="ko-KR" sz="1600" dirty="0">
                <a:latin typeface="Helvetica" pitchFamily="2" charset="0"/>
              </a:rPr>
              <a:t>A generalized FL model is assumed: </a:t>
            </a:r>
            <a:r>
              <a:rPr kumimoji="1" lang="de-DE" altLang="ko-KR" sz="1600" b="1" dirty="0" err="1">
                <a:latin typeface="Helvetica" pitchFamily="2" charset="0"/>
              </a:rPr>
              <a:t>h</a:t>
            </a:r>
            <a:r>
              <a:rPr lang="de-DE" altLang="ko-Kore-DE" sz="1600" b="1" dirty="0" err="1"/>
              <a:t>eterogeniety</a:t>
            </a:r>
            <a:r>
              <a:rPr lang="de-DE" altLang="ko-Kore-DE" sz="1600" dirty="0"/>
              <a:t> </a:t>
            </a:r>
            <a:r>
              <a:rPr lang="de-DE" altLang="ko-Kore-DE" sz="1600" b="1" dirty="0" err="1"/>
              <a:t>of</a:t>
            </a:r>
            <a:r>
              <a:rPr lang="de-DE" altLang="ko-Kore-DE" sz="1600" b="1" dirty="0"/>
              <a:t> </a:t>
            </a:r>
            <a:r>
              <a:rPr lang="de-DE" altLang="ko-Kore-DE" sz="1600" b="1" dirty="0" err="1"/>
              <a:t>users</a:t>
            </a:r>
            <a:r>
              <a:rPr lang="de-DE" altLang="ko-Kore-DE" sz="1600" dirty="0"/>
              <a:t>, </a:t>
            </a:r>
            <a:r>
              <a:rPr lang="de-DE" altLang="ko-Kore-DE" sz="1600" dirty="0" err="1"/>
              <a:t>gradient</a:t>
            </a:r>
            <a:r>
              <a:rPr lang="de-DE" altLang="ko-Kore-DE" sz="1600" dirty="0"/>
              <a:t> norm </a:t>
            </a:r>
            <a:r>
              <a:rPr lang="de-DE" altLang="ko-Kore-DE" sz="1600" dirty="0" err="1"/>
              <a:t>clipping</a:t>
            </a:r>
            <a:r>
              <a:rPr lang="de-DE" altLang="ko-Kore-DE" sz="1600" dirty="0"/>
              <a:t>, </a:t>
            </a:r>
            <a:r>
              <a:rPr lang="de-DE" altLang="ko-Kore-DE" sz="1600" dirty="0" err="1"/>
              <a:t>and</a:t>
            </a:r>
            <a:r>
              <a:rPr lang="de-DE" altLang="ko-Kore-DE" sz="1600" dirty="0"/>
              <a:t> variable </a:t>
            </a:r>
            <a:r>
              <a:rPr lang="de-DE" altLang="ko-Kore-DE" sz="1600" dirty="0" err="1"/>
              <a:t>query</a:t>
            </a:r>
            <a:r>
              <a:rPr lang="de-DE" altLang="ko-Kore-DE" sz="1600" dirty="0"/>
              <a:t> </a:t>
            </a:r>
            <a:r>
              <a:rPr lang="de-DE" altLang="ko-Kore-DE" sz="1600" dirty="0" err="1"/>
              <a:t>sensitivity</a:t>
            </a:r>
            <a:r>
              <a:rPr lang="de-DE" altLang="ko-Kore-DE" sz="1600" dirty="0"/>
              <a:t>. </a:t>
            </a:r>
            <a:endParaRPr kumimoji="1" lang="en-US" altLang="ko-KR" sz="1600" dirty="0"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endParaRPr kumimoji="1" lang="en-US" altLang="ko-KR" sz="1600" dirty="0">
              <a:latin typeface="Helvetica" pitchFamily="2" charset="0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668E0D7-AB69-A146-8BC2-F81BA6472006}"/>
              </a:ext>
            </a:extLst>
          </p:cNvPr>
          <p:cNvSpPr/>
          <p:nvPr/>
        </p:nvSpPr>
        <p:spPr>
          <a:xfrm>
            <a:off x="341311" y="6152522"/>
            <a:ext cx="8458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altLang="ko-Kore-DE" sz="800" dirty="0"/>
              <a:t>[3] S. </a:t>
            </a:r>
            <a:r>
              <a:rPr lang="de-DE" altLang="ko-Kore-DE" sz="800" dirty="0" err="1"/>
              <a:t>Asoodeh</a:t>
            </a:r>
            <a:r>
              <a:rPr lang="de-DE" altLang="ko-Kore-DE" sz="800" dirty="0"/>
              <a:t>, J. Liao, F. P. </a:t>
            </a:r>
            <a:r>
              <a:rPr lang="de-DE" altLang="ko-Kore-DE" sz="800" dirty="0" err="1"/>
              <a:t>Calmon</a:t>
            </a:r>
            <a:r>
              <a:rPr lang="de-DE" altLang="ko-Kore-DE" sz="800" dirty="0"/>
              <a:t>, O. </a:t>
            </a:r>
            <a:r>
              <a:rPr lang="de-DE" altLang="ko-Kore-DE" sz="800" dirty="0" err="1"/>
              <a:t>Kosut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L. </a:t>
            </a:r>
            <a:r>
              <a:rPr lang="de-DE" altLang="ko-Kore-DE" sz="800" dirty="0" err="1"/>
              <a:t>Sankar</a:t>
            </a:r>
            <a:r>
              <a:rPr lang="de-DE" altLang="ko-Kore-DE" sz="800" dirty="0"/>
              <a:t>, "A </a:t>
            </a:r>
            <a:r>
              <a:rPr lang="de-DE" altLang="ko-Kore-DE" sz="800" dirty="0" err="1"/>
              <a:t>Better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Bound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Gives</a:t>
            </a:r>
            <a:r>
              <a:rPr lang="de-DE" altLang="ko-Kore-DE" sz="800" dirty="0"/>
              <a:t> a </a:t>
            </a:r>
            <a:r>
              <a:rPr lang="de-DE" altLang="ko-Kore-DE" sz="800" dirty="0" err="1"/>
              <a:t>Hundred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Rounds</a:t>
            </a:r>
            <a:r>
              <a:rPr lang="de-DE" altLang="ko-Kore-DE" sz="800" dirty="0"/>
              <a:t>: Enhanced Privacy </a:t>
            </a:r>
            <a:r>
              <a:rPr lang="de-DE" altLang="ko-Kore-DE" sz="800" dirty="0" err="1"/>
              <a:t>Guarantees</a:t>
            </a:r>
            <a:r>
              <a:rPr lang="de-DE" altLang="ko-Kore-DE" sz="800" dirty="0"/>
              <a:t> via f-</a:t>
            </a:r>
            <a:r>
              <a:rPr lang="de-DE" altLang="ko-Kore-DE" sz="800" dirty="0" err="1"/>
              <a:t>Divergences</a:t>
            </a:r>
            <a:r>
              <a:rPr lang="de-DE" altLang="ko-Kore-DE" sz="800" dirty="0"/>
              <a:t>," </a:t>
            </a:r>
            <a:r>
              <a:rPr lang="de-DE" altLang="ko-Kore-DE" sz="800" i="1" dirty="0"/>
              <a:t>2020 IEEE International Symposium on Information </a:t>
            </a:r>
            <a:r>
              <a:rPr lang="de-DE" altLang="ko-Kore-DE" sz="800" i="1" dirty="0" err="1"/>
              <a:t>Theory</a:t>
            </a:r>
            <a:r>
              <a:rPr lang="de-DE" altLang="ko-Kore-DE" sz="800" i="1" dirty="0"/>
              <a:t> (ISIT)</a:t>
            </a:r>
            <a:r>
              <a:rPr lang="de-DE" altLang="ko-Kore-DE" sz="800" dirty="0"/>
              <a:t>, Los Angeles, CA, USA, 2020, pp. 920-925, </a:t>
            </a:r>
            <a:r>
              <a:rPr lang="de-DE" altLang="ko-Kore-DE" sz="800" dirty="0" err="1"/>
              <a:t>doi</a:t>
            </a:r>
            <a:r>
              <a:rPr lang="de-DE" altLang="ko-Kore-DE" sz="800" dirty="0"/>
              <a:t>: 10.1109/ISIT44484.2020.9174015.</a:t>
            </a:r>
          </a:p>
        </p:txBody>
      </p:sp>
    </p:spTree>
    <p:extLst>
      <p:ext uri="{BB962C8B-B14F-4D97-AF65-F5344CB8AC3E}">
        <p14:creationId xmlns:p14="http://schemas.microsoft.com/office/powerpoint/2010/main" val="3607671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모서리가 둥근 직사각형 4">
            <a:extLst>
              <a:ext uri="{FF2B5EF4-FFF2-40B4-BE49-F238E27FC236}">
                <a16:creationId xmlns:a16="http://schemas.microsoft.com/office/drawing/2014/main" id="{1BEFD776-AA18-9149-A23B-8E24E3777A9F}"/>
              </a:ext>
            </a:extLst>
          </p:cNvPr>
          <p:cNvSpPr/>
          <p:nvPr/>
        </p:nvSpPr>
        <p:spPr bwMode="auto">
          <a:xfrm>
            <a:off x="5960558" y="3525653"/>
            <a:ext cx="3024642" cy="227875"/>
          </a:xfrm>
          <a:prstGeom prst="roundRect">
            <a:avLst/>
          </a:prstGeom>
          <a:solidFill>
            <a:schemeClr val="accent2">
              <a:alpha val="56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ore-DE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540E733E-E6F2-D743-AB01-1A2520CD03FF}"/>
              </a:ext>
            </a:extLst>
          </p:cNvPr>
          <p:cNvGrpSpPr/>
          <p:nvPr/>
        </p:nvGrpSpPr>
        <p:grpSpPr>
          <a:xfrm>
            <a:off x="2718684" y="4989870"/>
            <a:ext cx="6249741" cy="1022825"/>
            <a:chOff x="2718684" y="4989870"/>
            <a:chExt cx="6249741" cy="1022825"/>
          </a:xfrm>
        </p:grpSpPr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4B95B119-FE1D-884D-899C-99F37305C2B2}"/>
                </a:ext>
              </a:extLst>
            </p:cNvPr>
            <p:cNvSpPr/>
            <p:nvPr/>
          </p:nvSpPr>
          <p:spPr bwMode="auto">
            <a:xfrm>
              <a:off x="5943783" y="4989870"/>
              <a:ext cx="3024642" cy="496529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  <a:alpha val="78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27" name="직선 화살표 연결선 26">
              <a:extLst>
                <a:ext uri="{FF2B5EF4-FFF2-40B4-BE49-F238E27FC236}">
                  <a16:creationId xmlns:a16="http://schemas.microsoft.com/office/drawing/2014/main" id="{8441834E-9A90-5642-9E6A-D715C4A5CAA9}"/>
                </a:ext>
              </a:extLst>
            </p:cNvPr>
            <p:cNvCxnSpPr>
              <a:cxnSpLocks/>
              <a:stCxn id="32" idx="0"/>
            </p:cNvCxnSpPr>
            <p:nvPr/>
          </p:nvCxnSpPr>
          <p:spPr bwMode="auto">
            <a:xfrm flipV="1">
              <a:off x="4090214" y="5194052"/>
              <a:ext cx="1776079" cy="356978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C34FA7A-E723-4449-B7CF-7606587AEFD4}"/>
                </a:ext>
              </a:extLst>
            </p:cNvPr>
            <p:cNvSpPr txBox="1"/>
            <p:nvPr/>
          </p:nvSpPr>
          <p:spPr>
            <a:xfrm>
              <a:off x="2718684" y="5551030"/>
              <a:ext cx="274305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accent2">
                      <a:lumMod val="50000"/>
                    </a:schemeClr>
                  </a:solidFill>
                </a:rPr>
                <a:t>Gaussian Mechanism:</a:t>
              </a:r>
            </a:p>
            <a:p>
              <a:r>
                <a:rPr kumimoji="1" lang="en-US" altLang="ko-Kore-DE" b="1" dirty="0">
                  <a:solidFill>
                    <a:schemeClr val="accent2">
                      <a:lumMod val="50000"/>
                    </a:schemeClr>
                  </a:solidFill>
                </a:rPr>
                <a:t>How much does it protect privacy?</a:t>
              </a:r>
              <a:endParaRPr kumimoji="1" lang="ko-Kore-DE" altLang="en-U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AB97C907-0065-E54B-8935-0751A6FB2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7" y="694901"/>
            <a:ext cx="8061325" cy="562846"/>
          </a:xfrm>
        </p:spPr>
        <p:txBody>
          <a:bodyPr anchor="t"/>
          <a:lstStyle/>
          <a:p>
            <a:r>
              <a:rPr kumimoji="1" lang="en-US" altLang="ko-Kore-DE" dirty="0"/>
              <a:t>System Modeling</a:t>
            </a:r>
            <a:br>
              <a:rPr kumimoji="1" lang="en-US" altLang="ko-Kore-DE" dirty="0"/>
            </a:br>
            <a:r>
              <a:rPr kumimoji="1" lang="en-US" altLang="ko-Kore-DE" sz="1600" dirty="0">
                <a:latin typeface="Arial" panose="020B0604020202020204" pitchFamily="34" charset="0"/>
                <a:cs typeface="Arial" panose="020B0604020202020204" pitchFamily="34" charset="0"/>
              </a:rPr>
              <a:t>FL with Stochastic Gradient Descent (</a:t>
            </a:r>
            <a:r>
              <a:rPr kumimoji="1" lang="en-US" altLang="ko-Kor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FedSGD</a:t>
            </a:r>
            <a:r>
              <a:rPr kumimoji="1" lang="en-US" altLang="ko-Kore-DE" sz="1600" dirty="0">
                <a:latin typeface="Arial" panose="020B0604020202020204" pitchFamily="34" charset="0"/>
                <a:cs typeface="Arial" panose="020B0604020202020204" pitchFamily="34" charset="0"/>
              </a:rPr>
              <a:t>) and Gaussian Mechanism</a:t>
            </a:r>
            <a:endParaRPr kumimoji="1" lang="ko-Kor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39DD921-390A-3E45-93EB-54C5BE3CBE26}"/>
              </a:ext>
            </a:extLst>
          </p:cNvPr>
          <p:cNvGrpSpPr/>
          <p:nvPr/>
        </p:nvGrpSpPr>
        <p:grpSpPr>
          <a:xfrm>
            <a:off x="335951" y="2300787"/>
            <a:ext cx="4432480" cy="2709328"/>
            <a:chOff x="292816" y="1563529"/>
            <a:chExt cx="4432480" cy="2709328"/>
          </a:xfrm>
        </p:grpSpPr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A343C09D-653F-5A43-9471-27A38C76A5AF}"/>
                </a:ext>
              </a:extLst>
            </p:cNvPr>
            <p:cNvGrpSpPr/>
            <p:nvPr/>
          </p:nvGrpSpPr>
          <p:grpSpPr>
            <a:xfrm>
              <a:off x="292816" y="3088842"/>
              <a:ext cx="847064" cy="926614"/>
              <a:chOff x="2551845" y="4187915"/>
              <a:chExt cx="847064" cy="926614"/>
            </a:xfrm>
          </p:grpSpPr>
          <p:pic>
            <p:nvPicPr>
              <p:cNvPr id="75" name="그림 74">
                <a:extLst>
                  <a:ext uri="{FF2B5EF4-FFF2-40B4-BE49-F238E27FC236}">
                    <a16:creationId xmlns:a16="http://schemas.microsoft.com/office/drawing/2014/main" id="{61AA4674-68E5-5740-ADB2-A4FDBF5E400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25518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76" name="그림 75">
                <a:extLst>
                  <a:ext uri="{FF2B5EF4-FFF2-40B4-BE49-F238E27FC236}">
                    <a16:creationId xmlns:a16="http://schemas.microsoft.com/office/drawing/2014/main" id="{092BE173-F64A-2C41-8D28-7DD309B5E1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93209" y="4276893"/>
                <a:ext cx="386886" cy="322832"/>
              </a:xfrm>
              <a:prstGeom prst="rect">
                <a:avLst/>
              </a:prstGeom>
            </p:spPr>
          </p:pic>
        </p:grpSp>
        <p:grpSp>
          <p:nvGrpSpPr>
            <p:cNvPr id="47" name="그룹 46">
              <a:extLst>
                <a:ext uri="{FF2B5EF4-FFF2-40B4-BE49-F238E27FC236}">
                  <a16:creationId xmlns:a16="http://schemas.microsoft.com/office/drawing/2014/main" id="{D249BFF4-4D49-CC49-BB59-45CD07A86ECD}"/>
                </a:ext>
              </a:extLst>
            </p:cNvPr>
            <p:cNvGrpSpPr/>
            <p:nvPr/>
          </p:nvGrpSpPr>
          <p:grpSpPr>
            <a:xfrm>
              <a:off x="1509261" y="1563529"/>
              <a:ext cx="1018595" cy="926614"/>
              <a:chOff x="1763703" y="2698497"/>
              <a:chExt cx="1018595" cy="926614"/>
            </a:xfrm>
          </p:grpSpPr>
          <p:pic>
            <p:nvPicPr>
              <p:cNvPr id="73" name="그림 72">
                <a:extLst>
                  <a:ext uri="{FF2B5EF4-FFF2-40B4-BE49-F238E27FC236}">
                    <a16:creationId xmlns:a16="http://schemas.microsoft.com/office/drawing/2014/main" id="{5377DF1D-5983-3C41-8679-E48263EE5B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b="12626"/>
              <a:stretch/>
            </p:blipFill>
            <p:spPr>
              <a:xfrm>
                <a:off x="1763703" y="2698497"/>
                <a:ext cx="1018595" cy="926614"/>
              </a:xfrm>
              <a:prstGeom prst="rect">
                <a:avLst/>
              </a:prstGeom>
            </p:spPr>
          </p:pic>
          <p:pic>
            <p:nvPicPr>
              <p:cNvPr id="74" name="그림 73">
                <a:extLst>
                  <a:ext uri="{FF2B5EF4-FFF2-40B4-BE49-F238E27FC236}">
                    <a16:creationId xmlns:a16="http://schemas.microsoft.com/office/drawing/2014/main" id="{27643217-66FD-3D44-B9DE-763649405F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54226" y="3055745"/>
                <a:ext cx="500609" cy="417727"/>
              </a:xfrm>
              <a:prstGeom prst="rect">
                <a:avLst/>
              </a:prstGeom>
            </p:spPr>
          </p:pic>
        </p:grp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8AAF28A2-CE6B-C246-8D31-2A04DA2DF047}"/>
                </a:ext>
              </a:extLst>
            </p:cNvPr>
            <p:cNvGrpSpPr/>
            <p:nvPr/>
          </p:nvGrpSpPr>
          <p:grpSpPr>
            <a:xfrm>
              <a:off x="1595027" y="3088842"/>
              <a:ext cx="847064" cy="926614"/>
              <a:chOff x="2809345" y="4187915"/>
              <a:chExt cx="847064" cy="926614"/>
            </a:xfrm>
          </p:grpSpPr>
          <p:pic>
            <p:nvPicPr>
              <p:cNvPr id="71" name="그림 70">
                <a:extLst>
                  <a:ext uri="{FF2B5EF4-FFF2-40B4-BE49-F238E27FC236}">
                    <a16:creationId xmlns:a16="http://schemas.microsoft.com/office/drawing/2014/main" id="{DBC33703-F6DB-4549-9D8A-06328406B03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28093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72" name="그림 71">
                <a:extLst>
                  <a:ext uri="{FF2B5EF4-FFF2-40B4-BE49-F238E27FC236}">
                    <a16:creationId xmlns:a16="http://schemas.microsoft.com/office/drawing/2014/main" id="{331AF9B4-EEE4-134C-8C46-159EED557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050709" y="4276893"/>
                <a:ext cx="386886" cy="322832"/>
              </a:xfrm>
              <a:prstGeom prst="rect">
                <a:avLst/>
              </a:prstGeom>
            </p:spPr>
          </p:pic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A4F641F5-6754-724E-90A1-92D353D183E7}"/>
                </a:ext>
              </a:extLst>
            </p:cNvPr>
            <p:cNvGrpSpPr/>
            <p:nvPr/>
          </p:nvGrpSpPr>
          <p:grpSpPr>
            <a:xfrm>
              <a:off x="2897238" y="3088842"/>
              <a:ext cx="847064" cy="926614"/>
              <a:chOff x="3066845" y="4187915"/>
              <a:chExt cx="847064" cy="926614"/>
            </a:xfrm>
          </p:grpSpPr>
          <p:pic>
            <p:nvPicPr>
              <p:cNvPr id="69" name="그림 68">
                <a:extLst>
                  <a:ext uri="{FF2B5EF4-FFF2-40B4-BE49-F238E27FC236}">
                    <a16:creationId xmlns:a16="http://schemas.microsoft.com/office/drawing/2014/main" id="{437DE7A0-8BAB-3943-86C1-449F6FF1E7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648" t="15542" r="17123" b="14197"/>
              <a:stretch/>
            </p:blipFill>
            <p:spPr>
              <a:xfrm>
                <a:off x="3066845" y="4187915"/>
                <a:ext cx="847064" cy="926614"/>
              </a:xfrm>
              <a:prstGeom prst="rect">
                <a:avLst/>
              </a:prstGeom>
            </p:spPr>
          </p:pic>
          <p:pic>
            <p:nvPicPr>
              <p:cNvPr id="70" name="그림 69">
                <a:extLst>
                  <a:ext uri="{FF2B5EF4-FFF2-40B4-BE49-F238E27FC236}">
                    <a16:creationId xmlns:a16="http://schemas.microsoft.com/office/drawing/2014/main" id="{DF721021-872E-2A4C-B8CA-128ABB44A4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08209" y="4276893"/>
                <a:ext cx="386886" cy="322832"/>
              </a:xfrm>
              <a:prstGeom prst="rect">
                <a:avLst/>
              </a:prstGeom>
            </p:spPr>
          </p:pic>
        </p:grpSp>
        <p:cxnSp>
          <p:nvCxnSpPr>
            <p:cNvPr id="50" name="꺾인 연결선[E] 49">
              <a:extLst>
                <a:ext uri="{FF2B5EF4-FFF2-40B4-BE49-F238E27FC236}">
                  <a16:creationId xmlns:a16="http://schemas.microsoft.com/office/drawing/2014/main" id="{530D5CDA-DF52-FD43-B513-AA01AC3E81B6}"/>
                </a:ext>
              </a:extLst>
            </p:cNvPr>
            <p:cNvCxnSpPr>
              <a:cxnSpLocks/>
              <a:stCxn id="73" idx="2"/>
              <a:endCxn id="75" idx="0"/>
            </p:cNvCxnSpPr>
            <p:nvPr/>
          </p:nvCxnSpPr>
          <p:spPr bwMode="auto">
            <a:xfrm rot="5400000">
              <a:off x="1068105" y="2138387"/>
              <a:ext cx="598699" cy="1302211"/>
            </a:xfrm>
            <a:prstGeom prst="bentConnector3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4" name="꺾인 연결선[E] 53">
              <a:extLst>
                <a:ext uri="{FF2B5EF4-FFF2-40B4-BE49-F238E27FC236}">
                  <a16:creationId xmlns:a16="http://schemas.microsoft.com/office/drawing/2014/main" id="{001C73A4-518F-AE4C-887D-675CE6AA7D33}"/>
                </a:ext>
              </a:extLst>
            </p:cNvPr>
            <p:cNvCxnSpPr>
              <a:cxnSpLocks/>
              <a:stCxn id="73" idx="2"/>
              <a:endCxn id="69" idx="0"/>
            </p:cNvCxnSpPr>
            <p:nvPr/>
          </p:nvCxnSpPr>
          <p:spPr bwMode="auto">
            <a:xfrm rot="16200000" flipH="1">
              <a:off x="2370315" y="2138386"/>
              <a:ext cx="598699" cy="1302211"/>
            </a:xfrm>
            <a:prstGeom prst="bentConnector3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직선 화살표 연결선 58">
              <a:extLst>
                <a:ext uri="{FF2B5EF4-FFF2-40B4-BE49-F238E27FC236}">
                  <a16:creationId xmlns:a16="http://schemas.microsoft.com/office/drawing/2014/main" id="{20FD70D2-FA66-C34A-87D8-603B38ADBE6F}"/>
                </a:ext>
              </a:extLst>
            </p:cNvPr>
            <p:cNvCxnSpPr>
              <a:cxnSpLocks/>
              <a:stCxn id="73" idx="2"/>
              <a:endCxn id="71" idx="0"/>
            </p:cNvCxnSpPr>
            <p:nvPr/>
          </p:nvCxnSpPr>
          <p:spPr bwMode="auto">
            <a:xfrm>
              <a:off x="2018559" y="2490143"/>
              <a:ext cx="0" cy="598699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accent1">
                  <a:alpha val="73521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1CDD73E-6260-824C-9AB0-2746992E8F4B}"/>
                </a:ext>
              </a:extLst>
            </p:cNvPr>
            <p:cNvSpPr txBox="1"/>
            <p:nvPr/>
          </p:nvSpPr>
          <p:spPr>
            <a:xfrm>
              <a:off x="2442091" y="1968379"/>
              <a:ext cx="115448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lobal Model</a:t>
              </a:r>
              <a:endParaRPr kumimoji="1" lang="ko-Kore-DE" alt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FBB85F7-C17D-664A-B4A5-DA1DF25FB1B1}"/>
                </a:ext>
              </a:extLst>
            </p:cNvPr>
            <p:cNvSpPr txBox="1"/>
            <p:nvPr/>
          </p:nvSpPr>
          <p:spPr>
            <a:xfrm>
              <a:off x="2732573" y="3995858"/>
              <a:ext cx="107593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DE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cal Model</a:t>
              </a:r>
              <a:endParaRPr kumimoji="1" lang="ko-Kore-DE" alt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65" name="그림 64">
              <a:extLst>
                <a:ext uri="{FF2B5EF4-FFF2-40B4-BE49-F238E27FC236}">
                  <a16:creationId xmlns:a16="http://schemas.microsoft.com/office/drawing/2014/main" id="{0C55CA47-27E8-584B-94A6-2CD4BF47A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44813" y="3649019"/>
              <a:ext cx="302262" cy="302262"/>
            </a:xfrm>
            <a:prstGeom prst="rect">
              <a:avLst/>
            </a:prstGeom>
          </p:spPr>
        </p:pic>
        <p:pic>
          <p:nvPicPr>
            <p:cNvPr id="66" name="그림 65">
              <a:extLst>
                <a:ext uri="{FF2B5EF4-FFF2-40B4-BE49-F238E27FC236}">
                  <a16:creationId xmlns:a16="http://schemas.microsoft.com/office/drawing/2014/main" id="{103F8416-22CD-E043-AE9E-AF4F55465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86401" y="3649019"/>
              <a:ext cx="302262" cy="302262"/>
            </a:xfrm>
            <a:prstGeom prst="rect">
              <a:avLst/>
            </a:prstGeom>
          </p:spPr>
        </p:pic>
        <p:pic>
          <p:nvPicPr>
            <p:cNvPr id="67" name="그림 66">
              <a:extLst>
                <a:ext uri="{FF2B5EF4-FFF2-40B4-BE49-F238E27FC236}">
                  <a16:creationId xmlns:a16="http://schemas.microsoft.com/office/drawing/2014/main" id="{AAD5B9C2-D371-6B49-A4ED-28BAF94D9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47990" y="3649019"/>
              <a:ext cx="302262" cy="302262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1A6F8A3F-2470-3146-B5AC-434A27640FF6}"/>
                    </a:ext>
                  </a:extLst>
                </p:cNvPr>
                <p:cNvSpPr txBox="1"/>
                <p:nvPr/>
              </p:nvSpPr>
              <p:spPr>
                <a:xfrm>
                  <a:off x="3978297" y="3698763"/>
                  <a:ext cx="746999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kumimoji="1" lang="en-US" altLang="ko-Kore-DE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Data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kumimoji="1" lang="en-US" altLang="ko-Kore-DE" b="1" i="1" dirty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sSubPr>
                        <m:e>
                          <m:r>
                            <a:rPr kumimoji="1" lang="en-US" altLang="ko-Kore-DE" b="1" i="1" dirty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𝒟</m:t>
                          </m:r>
                        </m:e>
                        <m:sub>
                          <m:r>
                            <a:rPr kumimoji="1" lang="en-US" altLang="ko-Kore-DE" i="1" dirty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𝑘</m:t>
                          </m:r>
                        </m:sub>
                      </m:sSub>
                    </m:oMath>
                  </a14:m>
                  <a:endParaRPr kumimoji="1" lang="ko-Kore-DE" altLang="en-US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1A6F8A3F-2470-3146-B5AC-434A27640FF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78297" y="3698763"/>
                  <a:ext cx="746999" cy="276999"/>
                </a:xfrm>
                <a:prstGeom prst="rect">
                  <a:avLst/>
                </a:prstGeom>
                <a:blipFill>
                  <a:blip r:embed="rId7"/>
                  <a:stretch>
                    <a:fillRect t="-4348" b="-8696"/>
                  </a:stretch>
                </a:blipFill>
              </p:spPr>
              <p:txBody>
                <a:bodyPr/>
                <a:lstStyle/>
                <a:p>
                  <a:r>
                    <a:rPr lang="ko-Kore-DE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072D999E-04B0-DC4A-9BD2-67FA730CC7D2}"/>
                  </a:ext>
                </a:extLst>
              </p:cNvPr>
              <p:cNvSpPr txBox="1"/>
              <p:nvPr/>
            </p:nvSpPr>
            <p:spPr>
              <a:xfrm>
                <a:off x="4895167" y="1306970"/>
                <a:ext cx="4248833" cy="52379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defTabSz="540000"/>
                <a:endParaRPr kumimoji="1" lang="en-US" altLang="ko-Kore-DE" b="1" dirty="0"/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Input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: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 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User dataset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SupPr>
                      <m:e>
                        <m:d>
                          <m:dPr>
                            <m:begChr m:val="{"/>
                            <m:endChr m:val="}"/>
                            <m:ctrlPr>
                              <a:rPr kumimoji="1" lang="en-US" altLang="ko-Kore-DE" b="0" i="1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DE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DE" b="0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𝒟</m:t>
                                </m:r>
                              </m:e>
                              <m:sub>
                                <m:r>
                                  <a:rPr kumimoji="1" lang="en-US" altLang="ko-Kore-DE" b="0" i="1" dirty="0" smtClean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𝑘</m:t>
                                </m:r>
                              </m:sub>
                            </m:sSub>
                          </m:e>
                        </m:d>
                      </m:e>
                      <m:sub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=1</m:t>
                        </m:r>
                      </m:sub>
                      <m:sup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𝐾</m:t>
                        </m:r>
                      </m:sup>
                    </m:sSub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 data sampling rate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SupPr>
                      <m:e>
                        <m:d>
                          <m:dPr>
                            <m:begChr m:val="{"/>
                            <m:endChr m:val="}"/>
                            <m:ctrlPr>
                              <a:rPr kumimoji="1" lang="en-US" altLang="ko-Kore-DE" b="0" i="1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DE" b="0" i="1" dirty="0" smtClean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DE" b="0" i="1" dirty="0" smtClean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kumimoji="1" lang="en-US" altLang="ko-Kore-DE" b="0" i="1" dirty="0" smtClean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𝑘</m:t>
                                </m:r>
                              </m:sub>
                            </m:sSub>
                          </m:e>
                        </m:d>
                      </m:e>
                      <m:sub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=1</m:t>
                        </m:r>
                      </m:sub>
                      <m:sup>
                        <m:r>
                          <a:rPr kumimoji="1" lang="en-US" altLang="ko-Kore-DE" b="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𝐾</m:t>
                        </m:r>
                      </m:sup>
                    </m:sSub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 sampled datasets </a:t>
                </a:r>
                <a14:m>
                  <m:oMath xmlns:m="http://schemas.openxmlformats.org/officeDocument/2006/math">
                    <m:r>
                      <a:rPr kumimoji="1" lang="en-US" altLang="ko-KR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{</m:t>
                    </m:r>
                    <m:sSubSup>
                      <m:sSubSupPr>
                        <m:ctrlPr>
                          <a:rPr kumimoji="1" lang="en-US" altLang="ko-KR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𝒥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d>
                          <m:d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sup>
                    </m:sSubSup>
                    <m:r>
                      <a:rPr kumimoji="1" lang="en-US" altLang="ko-Kor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</a:t>
                </a:r>
                <a:r>
                  <a:rPr kumimoji="1" lang="en-US" altLang="ko-KR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 total sampled datase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𝒥</m:t>
                        </m:r>
                      </m:e>
                      <m:sup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⋃"/>
                        <m:limLoc m:val="subSup"/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  <m:e>
                        <m:sSubSup>
                          <m:sSubSup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𝒥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sup>
                        </m:sSubSup>
                      </m:e>
                    </m:nary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 loss func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kumimoji="1" lang="en-US" altLang="ko-Kore-DE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ore-DE" b="1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𝒘</m:t>
                            </m:r>
                          </m:e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p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𝒥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e>
                    </m:d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d>
                          <m:dPr>
                            <m:begChr m:val="|"/>
                            <m:endChr m:val="|"/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Sup>
                              <m:sSubSupPr>
                                <m:ctrlPr>
                                  <a:rPr kumimoji="1" lang="en-US" altLang="ko-KR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𝒥</m:t>
                                </m:r>
                              </m:e>
                              <m:sub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  <m:sup>
                                <m:d>
                                  <m:dPr>
                                    <m:ctrlP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sup>
                            </m:sSubSup>
                          </m:e>
                        </m:d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sSubSup>
                          <m:sSubSup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𝒥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sub>
                      <m:sup/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ℓ</m:t>
                        </m:r>
                        <m:d>
                          <m:d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kumimoji="1" lang="en-US" altLang="ko-Kore-DE" b="1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𝒘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kumimoji="1" lang="en-US" altLang="ko-Kore-DE" i="1">
                                        <a:solidFill>
                                          <a:schemeClr val="accent6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kumimoji="1" lang="en-US" altLang="ko-Kore-DE" i="1">
                                        <a:solidFill>
                                          <a:schemeClr val="accent6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sup>
                            </m:s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e>
                    </m:nary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</a:t>
                </a:r>
              </a:p>
              <a:p>
                <a:pPr algn="l" defTabSz="540000"/>
                <a:r>
                  <a:rPr kumimoji="1" lang="en-US" altLang="ko-Kore-DE" dirty="0">
                    <a:latin typeface="Cambria" panose="02040503050406030204" pitchFamily="18" charset="0"/>
                  </a:rPr>
                  <a:t>Parameters: learning r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𝜂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 </a:t>
                </a:r>
              </a:p>
              <a:p>
                <a:pPr algn="l" defTabSz="540000"/>
                <a:r>
                  <a:rPr kumimoji="1" lang="en-US" altLang="ko-Kore-DE" dirty="0">
                    <a:latin typeface="Cambria" panose="02040503050406030204" pitchFamily="18" charset="0"/>
                  </a:rPr>
                  <a:t>noise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 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scal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d>
                          <m:dPr>
                            <m:begChr m:val="{"/>
                            <m:endChr m:val="}"/>
                            <m:ctrlPr>
                              <a:rPr kumimoji="1" lang="en-US" altLang="ko-Kor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b>
                                <m: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</m:e>
                        </m:d>
                      </m:e>
                      <m:sub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 clipping norm threshold </a:t>
                </a:r>
                <a14:m>
                  <m:oMath xmlns:m="http://schemas.openxmlformats.org/officeDocument/2006/math">
                    <m:r>
                      <a:rPr kumimoji="1" lang="en-US" altLang="ko-Kor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  <m:r>
                      <a:rPr kumimoji="1" lang="en-US" altLang="ko-KR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Initializ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ore-DE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kumimoji="1" lang="en-US" altLang="ko-Kore-DE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randomly</a:t>
                </a: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for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1" lang="en-US" altLang="ko-Kore-DE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</m:t>
                    </m:r>
                    <m:r>
                      <a:rPr kumimoji="1" lang="en-US" altLang="ko-Kore-DE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∈[0:</m:t>
                    </m:r>
                    <m:r>
                      <a:rPr kumimoji="1" lang="en-US" altLang="ko-Kore-DE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𝑇</m:t>
                    </m:r>
                    <m:r>
                      <a:rPr kumimoji="1" lang="en-US" altLang="ko-Kore-DE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1]</m:t>
                    </m:r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do</a:t>
                </a: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	for </a:t>
                </a:r>
                <a14:m>
                  <m:oMath xmlns:m="http://schemas.openxmlformats.org/officeDocument/2006/math">
                    <m:r>
                      <a:rPr kumimoji="1" lang="en-US" altLang="ko-Kore-DE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∈[</m:t>
                    </m:r>
                    <m:r>
                      <a:rPr kumimoji="1" lang="en-US" altLang="ko-Kore-DE" b="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</a:t>
                </a:r>
                <a:endParaRPr kumimoji="1" lang="en-US" altLang="ko-Kore-DE" b="1" dirty="0">
                  <a:latin typeface="Cambria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		Download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or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kumimoji="1" lang="en-US" altLang="ko-Kore-DE" b="1" dirty="0">
                  <a:latin typeface="Cambria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		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Sampl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R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kumimoji="1" lang="en-US" altLang="ko-Kor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𝒥</m:t>
                        </m:r>
                      </m:e>
                      <m:sub>
                        <m:r>
                          <a:rPr kumimoji="1" lang="en-US" altLang="ko-Kor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kumimoji="1" lang="en-US" altLang="ko-Kore-DE" b="0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𝒟</m:t>
                        </m:r>
                      </m:e>
                      <m:sub>
                        <m:r>
                          <a:rPr kumimoji="1" lang="en-US" altLang="ko-Kore-DE" b="0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with probabil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kumimoji="1" lang="en-US" altLang="ko-Kore-DE" b="0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𝑞</m:t>
                        </m:r>
                      </m:e>
                      <m:sub>
                        <m:r>
                          <a:rPr kumimoji="1" lang="en-US" altLang="ko-Kore-DE" b="0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</m:sub>
                    </m:sSub>
                  </m:oMath>
                </a14:m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dirty="0">
                    <a:latin typeface="Cambria" panose="02040503050406030204" pitchFamily="18" charset="0"/>
                  </a:rPr>
                  <a:t>		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Compute gradient</a:t>
                </a:r>
                <a:endParaRPr kumimoji="1" lang="en-US" altLang="ko-Kore-DE" sz="900" dirty="0">
                  <a:latin typeface="Cambria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sz="900" dirty="0">
                    <a:latin typeface="Cambria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kumimoji="1" lang="en-US" altLang="ko-Kore-DE" b="1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d>
                          <m:d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sup>
                    </m:sSubSup>
                    <m:d>
                      <m:d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kumimoji="1" lang="en-US" altLang="ko-Kore-DE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ore-DE" b="1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𝒘</m:t>
                            </m:r>
                          </m:e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p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𝒥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e>
                    </m:d>
                    <m:r>
                      <a:rPr kumimoji="1" lang="en-US" altLang="ko-K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←</m:t>
                    </m:r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1" lang="en-US" altLang="ko-Kore-DE" i="1">
                            <a:latin typeface="Cambria Math" panose="02040503050406030204" pitchFamily="18" charset="0"/>
                          </a:rPr>
                          <m:t>∇</m:t>
                        </m:r>
                      </m:e>
                      <m:sub>
                        <m:r>
                          <a:rPr kumimoji="1" lang="en-US" altLang="ko-Kore-DE" b="1" i="1">
                            <a:latin typeface="Cambria Math" panose="02040503050406030204" pitchFamily="18" charset="0"/>
                          </a:rPr>
                          <m:t>𝒘</m:t>
                        </m:r>
                      </m:sub>
                    </m:sSub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kumimoji="1" lang="en-US" altLang="ko-Kore-DE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ore-DE" b="1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𝒘</m:t>
                            </m:r>
                          </m:e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p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𝒥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e>
                    </m:d>
                  </m:oMath>
                </a14:m>
                <a:endParaRPr kumimoji="1" lang="en-US" altLang="ko-Kore-DE" sz="600" i="1" dirty="0">
                  <a:latin typeface="Cambria" panose="02040503050406030204" pitchFamily="18" charset="0"/>
                  <a:ea typeface="Cambria Math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		</a:t>
                </a:r>
                <a:r>
                  <a:rPr kumimoji="1" lang="en-US" altLang="ko-Kore-DE" b="1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Gradient Norm Clipping</a:t>
                </a:r>
                <a:endParaRPr kumimoji="1" lang="en-US" altLang="ko-Kore-DE" dirty="0">
                  <a:latin typeface="Cambria" panose="02040503050406030204" pitchFamily="18" charset="0"/>
                  <a:ea typeface="Cambria Math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dirty="0">
                    <a:solidFill>
                      <a:schemeClr val="accent4">
                        <a:lumMod val="65000"/>
                        <a:lumOff val="35000"/>
                      </a:schemeClr>
                    </a:solidFill>
                    <a:latin typeface="Cambria" panose="02040503050406030204" pitchFamily="18" charset="0"/>
                    <a:ea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̅"/>
                            <m:ctrlPr>
                              <a:rPr kumimoji="1" lang="en-US" altLang="ko-Kore-DE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kumimoji="1" lang="en-US" altLang="ko-Kore-DE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  <m:r>
                      <a:rPr kumimoji="1"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num>
                      <m:den>
                        <m:func>
                          <m:func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kumimoji="1" lang="en-US" altLang="ko-Kore-DE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ax</m:t>
                            </m:r>
                          </m:fName>
                          <m:e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,</m:t>
                                </m:r>
                                <m:d>
                                  <m:dPr>
                                    <m:begChr m:val="‖"/>
                                    <m:endChr m:val="‖"/>
                                    <m:ctrlP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kumimoji="1" lang="en-US" altLang="ko-Kore-DE" b="1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𝒈</m:t>
                                        </m:r>
                                      </m:e>
                                      <m:sub>
                                        <m: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d>
                                          <m:dPr>
                                            <m:ctrlPr>
                                              <a:rPr kumimoji="1" lang="en-US" altLang="ko-Kore-DE" i="1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kumimoji="1" lang="en-US" altLang="ko-Kore-DE" i="1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</m:d>
                                      </m:sup>
                                    </m:sSubSup>
                                  </m:e>
                                </m:d>
                                <m: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/</m:t>
                                </m:r>
                                <m: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</m:d>
                          </m:e>
                        </m:func>
                      </m:den>
                    </m:f>
                  </m:oMath>
                </a14:m>
                <a:endParaRPr kumimoji="1" lang="en-US" altLang="ko-Kore-DE" dirty="0">
                  <a:latin typeface="Cambria" panose="02040503050406030204" pitchFamily="18" charset="0"/>
                  <a:ea typeface="Cambria Math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		</a:t>
                </a:r>
                <a:r>
                  <a:rPr kumimoji="1" lang="en-US" altLang="ko-Kore-DE" b="1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Add Gaussian Noise</a:t>
                </a:r>
                <a:endParaRPr kumimoji="1" lang="en-US" altLang="ko-Kore-DE" i="1" dirty="0">
                  <a:latin typeface="Cambria" panose="02040503050406030204" pitchFamily="18" charset="0"/>
                  <a:ea typeface="Cambria Math" panose="02040503050406030204" pitchFamily="18" charset="0"/>
                </a:endParaRPr>
              </a:p>
              <a:p>
                <a:pPr lvl="1" algn="l" defTabSz="540000"/>
                <a:r>
                  <a:rPr kumimoji="1" lang="en-US" altLang="ko-Kore-DE" i="1" dirty="0">
                    <a:solidFill>
                      <a:srgbClr val="CA6260"/>
                    </a:solidFill>
                    <a:latin typeface="Cambria" panose="02040503050406030204" pitchFamily="18" charset="0"/>
                    <a:ea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i="1" smtClean="0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̃"/>
                            <m:ctrlP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kumimoji="1" lang="en-US" altLang="ko-Kore-DE" b="1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  <m:r>
                      <a:rPr kumimoji="1"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kumimoji="1" lang="en-US" altLang="ko-KR" dirty="0">
                    <a:latin typeface="Cambria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ℳ</m:t>
                        </m:r>
                      </m:e>
                      <m: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kumimoji="1" lang="en-US" altLang="ko-Kore-DE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kumimoji="1" lang="en-US" altLang="ko-Kore-DE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kumimoji="1" lang="en-US" altLang="ko-Kore-DE" b="1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𝒈</m:t>
                                </m:r>
                              </m:e>
                            </m:acc>
                          </m:e>
                          <m:sub>
                            <m:r>
                              <a:rPr kumimoji="1" lang="en-US" altLang="ko-Kore-DE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e>
                    </m:d>
                  </m:oMath>
                </a14:m>
                <a:r>
                  <a:rPr kumimoji="1" lang="en-US" altLang="ko-Kore-DE" i="1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1" lang="en-US" altLang="ko-KR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kumimoji="1" lang="en-US" altLang="ko-Kore-DE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̅"/>
                            <m:ctrlPr>
                              <a:rPr kumimoji="1" lang="en-US" altLang="ko-Kore-DE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kumimoji="1" lang="en-US" altLang="ko-Kore-DE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  <m:r>
                      <a:rPr kumimoji="1" lang="en-US" altLang="ko-K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kumimoji="1" lang="en-US" altLang="ko-KR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𝒩</m:t>
                    </m:r>
                    <m:d>
                      <m:dPr>
                        <m:ctrlPr>
                          <a:rPr kumimoji="1" lang="en-US" altLang="ko-KR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1" lang="en-US" altLang="ko-Kore-DE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𝟎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𝐶</m:t>
                            </m:r>
                          </m:e>
                          <m: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sSubSup>
                          <m:sSub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sSub>
                          <m:sSubPr>
                            <m:ctrlP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𝜤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</m:e>
                    </m:d>
                  </m:oMath>
                </a14:m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		Uploa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̃"/>
                            <m:ctrlP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kumimoji="1" lang="en-US" altLang="ko-Kore-DE" b="1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</a:t>
                </a: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	Weight Update</a:t>
                </a: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ore-DE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b="1" i="1"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kumimoji="1" lang="en-US" altLang="ko-KR" b="1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ko-Kore-DE" b="1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𝜂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⋅</m:t>
                    </m:r>
                    <m:nary>
                      <m:naryPr>
                        <m:chr m:val="∑"/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𝐾</m:t>
                        </m:r>
                      </m:sup>
                      <m:e>
                        <m:f>
                          <m:f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d>
                              <m:dPr>
                                <m:begChr m:val="|"/>
                                <m:endChr m:val="|"/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𝒥</m:t>
                                    </m:r>
                                  </m:e>
                                  <m:sub>
                                    <m: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</m:d>
                          </m:num>
                          <m:den>
                            <m:d>
                              <m:dPr>
                                <m:begChr m:val="|"/>
                                <m:endChr m:val="|"/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kumimoji="1" lang="en-US" altLang="ko-K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1" lang="en-US" altLang="ko-Kore-DE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𝒥</m:t>
                                    </m:r>
                                  </m:e>
                                  <m:sub/>
                                  <m:sup>
                                    <m:d>
                                      <m:dPr>
                                        <m:ctrlP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kumimoji="1" lang="en-US" altLang="ko-Kore-DE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</m:d>
                          </m:den>
                        </m:f>
                        <m:sSubSup>
                          <m:sSubSupPr>
                            <m:ctrlP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̃"/>
                                <m:ctrlPr>
                                  <a:rPr kumimoji="1" lang="en-US" altLang="ko-Kore-DE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kumimoji="1" lang="en-US" altLang="ko-Kore-DE" b="1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𝒈</m:t>
                                </m:r>
                              </m:e>
                            </m:acc>
                          </m:e>
                          <m:sub>
                            <m: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  <m: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sup>
                        </m:sSubSup>
                      </m:e>
                    </m:nary>
                    <m:r>
                      <a:rPr kumimoji="1" lang="en-US" altLang="ko-Kore-DE" b="0" i="1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algn="l" defTabSz="540000"/>
                <a:r>
                  <a:rPr kumimoji="1" lang="en-US" altLang="ko-Kore-DE" b="1" dirty="0">
                    <a:latin typeface="Cambria" panose="02040503050406030204" pitchFamily="18" charset="0"/>
                  </a:rPr>
                  <a:t>Output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or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R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kumimoji="1" lang="en-US" altLang="ko-KR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kumimoji="1" lang="ko-Kore-DE" altLang="en-US" dirty="0">
                  <a:latin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072D999E-04B0-DC4A-9BD2-67FA730CC7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5167" y="1306970"/>
                <a:ext cx="4248833" cy="5237909"/>
              </a:xfrm>
              <a:prstGeom prst="rect">
                <a:avLst/>
              </a:prstGeom>
              <a:blipFill>
                <a:blip r:embed="rId8"/>
                <a:stretch>
                  <a:fillRect l="-3284" b="-1691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800558B6-12A2-5F4E-B377-155505AE5266}"/>
                  </a:ext>
                </a:extLst>
              </p:cNvPr>
              <p:cNvSpPr/>
              <p:nvPr/>
            </p:nvSpPr>
            <p:spPr>
              <a:xfrm>
                <a:off x="3430457" y="3541824"/>
                <a:ext cx="484235" cy="3260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̃"/>
                              <m:ctrlPr>
                                <a:rPr kumimoji="1" lang="en-US" altLang="ko-Kore-DE" i="1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kumimoji="1" lang="en-US" altLang="ko-Kore-DE" b="1" i="1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𝒈</m:t>
                              </m:r>
                            </m:e>
                          </m:acc>
                        </m:e>
                        <m:sub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</m:oMath>
                  </m:oMathPara>
                </a14:m>
                <a:endParaRPr lang="ko-Kore-DE" altLang="en-US" dirty="0"/>
              </a:p>
            </p:txBody>
          </p:sp>
        </mc:Choice>
        <mc:Fallback xmlns=""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800558B6-12A2-5F4E-B377-155505AE52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0457" y="3541824"/>
                <a:ext cx="484235" cy="32605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E60FE1C8-E311-F24B-891C-88E0C474BE28}"/>
                  </a:ext>
                </a:extLst>
              </p:cNvPr>
              <p:cNvSpPr/>
              <p:nvPr/>
            </p:nvSpPr>
            <p:spPr>
              <a:xfrm>
                <a:off x="1649131" y="3129544"/>
                <a:ext cx="501869" cy="2846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kumimoji="1" lang="en-US" altLang="ko-Kore-DE" b="1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ko-Kore-DE" b="1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p>
                          <m:r>
                            <a:rPr kumimoji="1" lang="en-US" altLang="ko-Kore-DE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kumimoji="1" lang="en-US" altLang="ko-Kore-DE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ko-Kore-DE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p>
                    </m:oMath>
                  </m:oMathPara>
                </a14:m>
                <a:endParaRPr lang="ko-Kore-DE" altLang="en-US" dirty="0"/>
              </a:p>
            </p:txBody>
          </p:sp>
        </mc:Choice>
        <mc:Fallback xmlns=""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E60FE1C8-E311-F24B-891C-88E0C474BE2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9131" y="3129544"/>
                <a:ext cx="501869" cy="28469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꺾인 연결선[E] 79">
            <a:extLst>
              <a:ext uri="{FF2B5EF4-FFF2-40B4-BE49-F238E27FC236}">
                <a16:creationId xmlns:a16="http://schemas.microsoft.com/office/drawing/2014/main" id="{DBB10B51-684E-8244-9E1C-99A88DBF26A2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2476359" y="2803074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73521"/>
              </a:schemeClr>
            </a:solidFill>
            <a:prstDash val="solid"/>
            <a:round/>
            <a:headEnd type="triangle" w="med" len="med"/>
            <a:tailEnd type="none"/>
          </a:ln>
          <a:effectLst/>
        </p:spPr>
      </p:cxnSp>
      <p:sp>
        <p:nvSpPr>
          <p:cNvPr id="8" name="자유형 7">
            <a:extLst>
              <a:ext uri="{FF2B5EF4-FFF2-40B4-BE49-F238E27FC236}">
                <a16:creationId xmlns:a16="http://schemas.microsoft.com/office/drawing/2014/main" id="{A6BFC11B-5CCE-1D4C-BFBB-081DCA4F39E7}"/>
              </a:ext>
            </a:extLst>
          </p:cNvPr>
          <p:cNvSpPr/>
          <p:nvPr/>
        </p:nvSpPr>
        <p:spPr bwMode="auto">
          <a:xfrm>
            <a:off x="3587262" y="4042131"/>
            <a:ext cx="374517" cy="298757"/>
          </a:xfrm>
          <a:custGeom>
            <a:avLst/>
            <a:gdLst>
              <a:gd name="connsiteX0" fmla="*/ 341643 w 374517"/>
              <a:gd name="connsiteY0" fmla="*/ 298757 h 298757"/>
              <a:gd name="connsiteX1" fmla="*/ 341643 w 374517"/>
              <a:gd name="connsiteY1" fmla="*/ 37500 h 298757"/>
              <a:gd name="connsiteX2" fmla="*/ 0 w 374517"/>
              <a:gd name="connsiteY2" fmla="*/ 7355 h 29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517" h="298757">
                <a:moveTo>
                  <a:pt x="341643" y="298757"/>
                </a:moveTo>
                <a:cubicBezTo>
                  <a:pt x="370113" y="192412"/>
                  <a:pt x="398584" y="86067"/>
                  <a:pt x="341643" y="37500"/>
                </a:cubicBezTo>
                <a:cubicBezTo>
                  <a:pt x="284702" y="-11067"/>
                  <a:pt x="142351" y="-1856"/>
                  <a:pt x="0" y="7355"/>
                </a:cubicBezTo>
              </a:path>
            </a:pathLst>
          </a:custGeom>
          <a:noFill/>
          <a:ln w="222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ore-DE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776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96296E-6 C 0.00052 0.01782 0.00156 0.03611 0.00173 0.04328 C 0.00208 0.05046 0.00069 0.04328 0.00069 0.04352 C 0.02413 0.04305 0.11857 0.03727 0.14184 0.04236 C 0.16527 0.04699 0.14305 0.07338 0.14097 0.07268 " pathEditMode="relative" rAng="0" ptsTypes="AAAAA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22" y="3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78 -0.00024 L 0.0033 0.0331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16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3 0.03333 L 0.00469 0.24861 " pathEditMode="relative" rAng="0" ptsTypes="AA">
                                      <p:cBhvr>
                                        <p:cTn id="20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9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69 0.24861 L 0.00521 0.28611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1875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3.7037E-6 C 0.00521 -0.01459 0.01198 -0.02894 -0.00833 -0.03403 C -0.02847 -0.03936 -0.10069 -0.02639 -0.12361 -0.03149 C -0.14618 -0.03635 -0.14566 -0.05 -0.14548 -0.06366 " pathEditMode="relative" rAng="0" ptsTypes="AAAA">
                                      <p:cBhvr>
                                        <p:cTn id="26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858" y="-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18" grpId="0"/>
      <p:bldP spid="18" grpId="1"/>
      <p:bldP spid="19" grpId="0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B97C907-0065-E54B-8935-0751A6FB2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815886"/>
            <a:ext cx="8061325" cy="294953"/>
          </a:xfrm>
        </p:spPr>
        <p:txBody>
          <a:bodyPr anchor="t"/>
          <a:lstStyle/>
          <a:p>
            <a:r>
              <a:rPr kumimoji="1" lang="en-US" altLang="ko-Kore-DE" sz="2000" dirty="0"/>
              <a:t>Performance Metrics: Privacy</a:t>
            </a:r>
            <a:endParaRPr kumimoji="1" lang="ko-Kore-DE" alt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/>
              <p:nvPr/>
            </p:nvSpPr>
            <p:spPr>
              <a:xfrm>
                <a:off x="734379" y="2247113"/>
                <a:ext cx="4320914" cy="12395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l"/>
                <a:r>
                  <a:rPr kumimoji="1" lang="en-US" altLang="ko-KR" b="1" dirty="0">
                    <a:latin typeface="Cambria" panose="02040503050406030204" pitchFamily="18" charset="0"/>
                  </a:rPr>
                  <a:t>Definition.</a:t>
                </a:r>
                <a:r>
                  <a:rPr kumimoji="1" lang="en-US" altLang="ko-KR" dirty="0">
                    <a:latin typeface="Cambria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kumimoji="1" lang="en-US" altLang="ko-KR" i="1">
                        <a:latin typeface="Cambria Math" panose="02040503050406030204" pitchFamily="18" charset="0"/>
                      </a:rPr>
                      <m:t>−</m:t>
                    </m:r>
                    <m:r>
                      <a:rPr kumimoji="1" lang="en-US" altLang="ko-KR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1" lang="en-US" altLang="ko-KR" b="1" dirty="0">
                    <a:latin typeface="Cambria" panose="02040503050406030204" pitchFamily="18" charset="0"/>
                  </a:rPr>
                  <a:t>Local Differential Privacy (LDP)</a:t>
                </a:r>
              </a:p>
              <a:p>
                <a:pPr algn="l"/>
                <a:endParaRPr kumimoji="1" lang="en-US" altLang="ko-KR" sz="600" b="1" dirty="0">
                  <a:latin typeface="Cambria" panose="02040503050406030204" pitchFamily="18" charset="0"/>
                </a:endParaRPr>
              </a:p>
              <a:p>
                <a:pPr algn="l"/>
                <a:r>
                  <a:rPr kumimoji="1" lang="en-US" altLang="ko-KR" dirty="0">
                    <a:latin typeface="Cambria" panose="02040503050406030204" pitchFamily="18" charset="0"/>
                  </a:rPr>
                  <a:t>Gaussian mechanis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ℳ</m:t>
                        </m:r>
                      </m:e>
                      <m: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is </a:t>
                </a:r>
                <a14:m>
                  <m:oMath xmlns:m="http://schemas.openxmlformats.org/officeDocument/2006/math">
                    <m:d>
                      <m:d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  <m:sub>
                            <m:r>
                              <a:rPr kumimoji="1" lang="en-US" altLang="ko-KR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kumimoji="1" lang="en-US" altLang="ko-KR" i="1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kumimoji="1" lang="en-US" altLang="ko-Kore-DE" b="1" dirty="0">
                    <a:latin typeface="Cambria" panose="02040503050406030204" pitchFamily="18" charset="0"/>
                  </a:rPr>
                  <a:t>LDP </a:t>
                </a:r>
                <a:r>
                  <a:rPr kumimoji="1" lang="en-US" altLang="ko-Kore-DE" dirty="0" err="1">
                    <a:latin typeface="Cambria" panose="02040503050406030204" pitchFamily="18" charset="0"/>
                  </a:rPr>
                  <a:t>w.r.t.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 datas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𝒟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, if </a:t>
                </a:r>
                <a14:m>
                  <m:oMath xmlns:m="http://schemas.openxmlformats.org/officeDocument/2006/math">
                    <m:r>
                      <a:rPr kumimoji="1"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two </a:t>
                </a:r>
                <a:r>
                  <a:rPr kumimoji="1" lang="en-US" altLang="ko-Kore-DE" b="1" dirty="0">
                    <a:latin typeface="Cambria" panose="02040503050406030204" pitchFamily="18" charset="0"/>
                  </a:rPr>
                  <a:t>neighboring</a:t>
                </a:r>
                <a:r>
                  <a:rPr kumimoji="1" lang="en-US" altLang="ko-Kore-DE" dirty="0">
                    <a:latin typeface="Cambria" panose="02040503050406030204" pitchFamily="18" charset="0"/>
                  </a:rPr>
                  <a:t> datase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</m:t>
                        </m:r>
                        <m:r>
                          <a:rPr kumimoji="1" lang="en-US" altLang="ko-KR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~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′⊆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𝒟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 and </a:t>
                </a:r>
                <a14:m>
                  <m:oMath xmlns:m="http://schemas.openxmlformats.org/officeDocument/2006/math">
                    <m:r>
                      <a:rPr kumimoji="1"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𝒮</m:t>
                    </m:r>
                    <m:r>
                      <a:rPr kumimoji="1" lang="en-US" altLang="ko-Kor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⊆</m:t>
                    </m:r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𝑅𝑎𝑛𝑔𝑒</m:t>
                    </m:r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ℳ</m:t>
                        </m:r>
                      </m:e>
                      <m: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algn="l"/>
                <a:endParaRPr kumimoji="1" lang="en-US" altLang="ko-Kore-DE" dirty="0">
                  <a:latin typeface="Cambria" panose="02040503050406030204" pitchFamily="18" charset="0"/>
                </a:endParaRPr>
              </a:p>
              <a:p>
                <a:pPr algn="l"/>
                <a:endParaRPr kumimoji="1" lang="en-US" altLang="ko-Kore-DE" sz="700" dirty="0">
                  <a:latin typeface="Cambria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1" lang="en-US" altLang="ko-Kore-DE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Pr</m:t>
                    </m:r>
                    <m:d>
                      <m:dPr>
                        <m:begChr m:val="["/>
                        <m:endChr m:val="]"/>
                        <m:ctrlPr>
                          <a:rPr kumimoji="1" lang="en-US" altLang="ko-Kore-DE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R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ℳ</m:t>
                            </m:r>
                          </m:e>
                          <m:sub>
                            <m:r>
                              <a:rPr kumimoji="1" lang="en-US" altLang="ko-KR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R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DE" b="1" i="1" dirty="0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̅"/>
                                    <m:ctrlPr>
                                      <a:rPr kumimoji="1" lang="en-US" altLang="ko-KR" i="1" dirty="0">
                                        <a:solidFill>
                                          <a:schemeClr val="accent6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kumimoji="1" lang="en-US" altLang="ko-KR" b="1" i="1" dirty="0">
                                        <a:solidFill>
                                          <a:schemeClr val="accent6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𝒈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kumimoji="1" lang="en-US" altLang="ko-Kore-DE" i="1" dirty="0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kumimoji="1" lang="en-US" altLang="ko-Kore-DE" i="1" dirty="0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ore-DE" i="1" dirty="0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kumimoji="1" lang="en-US" altLang="ko-Kore-DE" i="1" dirty="0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</m:d>
                        <m:r>
                          <a:rPr kumimoji="1" lang="en-US" altLang="ko-KR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kumimoji="1" lang="en-US" altLang="ko-KR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𝒮</m:t>
                        </m:r>
                      </m:e>
                    </m:d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≤</m:t>
                    </m:r>
                    <m:sSup>
                      <m:sSup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sSub>
                          <m:sSub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sup>
                    </m:sSup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⋅</m:t>
                    </m:r>
                    <m:func>
                      <m:funcPr>
                        <m:ctrlPr>
                          <a:rPr kumimoji="1" lang="en-US" altLang="ko-Kore-DE" i="1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kumimoji="1" lang="en-US" altLang="ko-Kore-DE">
                            <a:solidFill>
                              <a:srgbClr val="E05300"/>
                            </a:solidFill>
                            <a:latin typeface="Cambria Math" panose="02040503050406030204" pitchFamily="18" charset="0"/>
                          </a:rPr>
                          <m:t>Pr</m:t>
                        </m:r>
                      </m:fName>
                      <m:e>
                        <m:d>
                          <m:dPr>
                            <m:begChr m:val="["/>
                            <m:endChr m:val="]"/>
                            <m:ctrlPr>
                              <a:rPr kumimoji="1" lang="en-US" altLang="ko-Kore-DE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R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DE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ℳ</m:t>
                                </m:r>
                              </m:e>
                              <m:sub>
                                <m:r>
                                  <a:rPr kumimoji="1" lang="en-US" altLang="ko-KR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kumimoji="1" lang="en-US" altLang="ko-KR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d>
                              <m:dPr>
                                <m:ctrlPr>
                                  <a:rPr kumimoji="1" lang="en-US" altLang="ko-KR" i="1">
                                    <a:solidFill>
                                      <a:srgbClr val="E053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1" lang="en-US" altLang="ko-Kore-DE" b="1" i="1" dirty="0">
                                        <a:solidFill>
                                          <a:srgbClr val="E053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̅"/>
                                        <m:ctrlPr>
                                          <a:rPr kumimoji="1" lang="en-US" altLang="ko-KR" i="1" dirty="0">
                                            <a:solidFill>
                                              <a:srgbClr val="E053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kumimoji="1" lang="en-US" altLang="ko-KR" b="1" i="1" dirty="0">
                                            <a:solidFill>
                                              <a:srgbClr val="E053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𝒈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kumimoji="1" lang="en-US" altLang="ko-Kore-DE" i="1" dirty="0">
                                        <a:solidFill>
                                          <a:srgbClr val="E053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kumimoji="1" lang="en-US" altLang="ko-Kore-DE" b="1" i="1" dirty="0">
                                        <a:solidFill>
                                          <a:srgbClr val="E053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kumimoji="1" lang="en-US" altLang="ko-Kore-DE" b="1" i="1" dirty="0">
                                            <a:solidFill>
                                              <a:srgbClr val="E05300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kumimoji="1" lang="en-US" altLang="ko-Kore-DE" i="1">
                                            <a:solidFill>
                                              <a:srgbClr val="E05300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𝐷</m:t>
                                        </m:r>
                                      </m:e>
                                      <m:sup>
                                        <m:r>
                                          <a:rPr kumimoji="1" lang="en-US" altLang="ko-Kore-DE" i="1">
                                            <a:solidFill>
                                              <a:srgbClr val="E05300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e>
                                </m:d>
                              </m:e>
                            </m:d>
                            <m:r>
                              <a:rPr kumimoji="1" lang="en-US" altLang="ko-KR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</a:rPr>
                              <m:t>∈</m:t>
                            </m:r>
                            <m:r>
                              <a:rPr kumimoji="1" lang="en-US" altLang="ko-KR" i="1">
                                <a:solidFill>
                                  <a:srgbClr val="E053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𝒮</m:t>
                            </m:r>
                          </m:e>
                        </m:d>
                      </m:e>
                    </m:func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ore-DE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1" lang="ko-KR" altLang="en-US" dirty="0">
                    <a:latin typeface="Cambria" panose="02040503050406030204" pitchFamily="18" charset="0"/>
                  </a:rPr>
                  <a:t> </a:t>
                </a:r>
                <a:endParaRPr kumimoji="1" lang="en-US" altLang="ko-Kore-DE" dirty="0">
                  <a:latin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4379" y="2247113"/>
                <a:ext cx="4320914" cy="1239506"/>
              </a:xfrm>
              <a:prstGeom prst="rect">
                <a:avLst/>
              </a:prstGeom>
              <a:blipFill>
                <a:blip r:embed="rId3"/>
                <a:stretch>
                  <a:fillRect t="-1020" b="-1020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F3E2C0C4-AC4A-F341-868A-210178F931AC}"/>
              </a:ext>
            </a:extLst>
          </p:cNvPr>
          <p:cNvSpPr txBox="1"/>
          <p:nvPr/>
        </p:nvSpPr>
        <p:spPr>
          <a:xfrm>
            <a:off x="560362" y="6209985"/>
            <a:ext cx="784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altLang="ko-Kore-DE" sz="800" dirty="0"/>
              <a:t>[4] J. C. </a:t>
            </a:r>
            <a:r>
              <a:rPr lang="de-DE" altLang="ko-Kore-DE" sz="800" dirty="0" err="1"/>
              <a:t>Duchi</a:t>
            </a:r>
            <a:r>
              <a:rPr lang="de-DE" altLang="ko-Kore-DE" sz="800" dirty="0"/>
              <a:t>, M. I. Jordan, </a:t>
            </a:r>
            <a:r>
              <a:rPr lang="en-US" altLang="ko-KR" sz="800" dirty="0"/>
              <a:t>and </a:t>
            </a:r>
            <a:r>
              <a:rPr lang="de-DE" altLang="ko-Kore-DE" sz="800" dirty="0"/>
              <a:t>M. J. Wainwright (2013, </a:t>
            </a:r>
            <a:r>
              <a:rPr lang="de-DE" altLang="ko-Kore-DE" sz="800" dirty="0" err="1"/>
              <a:t>October</a:t>
            </a:r>
            <a:r>
              <a:rPr lang="de-DE" altLang="ko-Kore-DE" sz="800" dirty="0"/>
              <a:t>). “</a:t>
            </a:r>
            <a:r>
              <a:rPr lang="de-DE" altLang="ko-Kore-DE" sz="800" dirty="0" err="1"/>
              <a:t>Local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privacy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and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statistical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minimax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rates</a:t>
            </a:r>
            <a:r>
              <a:rPr lang="de-DE" altLang="ko-Kore-DE" sz="800" dirty="0"/>
              <a:t>,” </a:t>
            </a:r>
            <a:r>
              <a:rPr lang="de-DE" altLang="ko-Kore-DE" sz="800" i="1" dirty="0"/>
              <a:t>IEEE 54th Annual Symposium on </a:t>
            </a:r>
            <a:r>
              <a:rPr lang="de-DE" altLang="ko-Kore-DE" sz="800" i="1" dirty="0" err="1"/>
              <a:t>Found</a:t>
            </a:r>
            <a:r>
              <a:rPr lang="de-DE" altLang="ko-Kore-DE" sz="800" i="1" dirty="0"/>
              <a:t>. </a:t>
            </a:r>
            <a:r>
              <a:rPr lang="de-DE" altLang="ko-Kore-DE" sz="800" i="1" dirty="0" err="1"/>
              <a:t>of</a:t>
            </a:r>
            <a:r>
              <a:rPr lang="de-DE" altLang="ko-Kore-DE" sz="800" i="1" dirty="0"/>
              <a:t> Comp. Science, </a:t>
            </a:r>
            <a:r>
              <a:rPr lang="de-DE" altLang="ko-Kore-DE" sz="800" dirty="0"/>
              <a:t>pp. 429-438, 2013.</a:t>
            </a:r>
          </a:p>
          <a:p>
            <a:pPr algn="l"/>
            <a:r>
              <a:rPr lang="de-DE" altLang="ko-Kore-DE" sz="800" dirty="0"/>
              <a:t>[5] C. </a:t>
            </a:r>
            <a:r>
              <a:rPr lang="de-DE" altLang="ko-Kore-DE" sz="800" dirty="0" err="1"/>
              <a:t>Dwork</a:t>
            </a:r>
            <a:r>
              <a:rPr lang="en-US" altLang="ko-Kore-DE" sz="800" dirty="0"/>
              <a:t> </a:t>
            </a:r>
            <a:r>
              <a:rPr lang="en-US" altLang="ko-KR" sz="800" dirty="0"/>
              <a:t>and </a:t>
            </a:r>
            <a:r>
              <a:rPr lang="de-DE" altLang="ko-Kore-DE" sz="800" dirty="0"/>
              <a:t>A. Roth. </a:t>
            </a:r>
            <a:r>
              <a:rPr lang="en-US" altLang="ko-KR" sz="800" dirty="0"/>
              <a:t>“</a:t>
            </a:r>
            <a:r>
              <a:rPr lang="de-DE" altLang="ko-Kore-DE" sz="800" dirty="0"/>
              <a:t>The </a:t>
            </a:r>
            <a:r>
              <a:rPr lang="de-DE" altLang="ko-Kore-DE" sz="800" dirty="0" err="1"/>
              <a:t>algorithmic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foundations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of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dierential</a:t>
            </a:r>
            <a:r>
              <a:rPr lang="de-DE" altLang="ko-Kore-DE" sz="800" dirty="0"/>
              <a:t> </a:t>
            </a:r>
            <a:r>
              <a:rPr lang="de-DE" altLang="ko-Kore-DE" sz="800" dirty="0" err="1"/>
              <a:t>privacy</a:t>
            </a:r>
            <a:r>
              <a:rPr lang="en-US" altLang="ko-KR" sz="800" dirty="0"/>
              <a:t>,”</a:t>
            </a:r>
            <a:r>
              <a:rPr lang="de-DE" altLang="ko-Kore-DE" sz="800" dirty="0"/>
              <a:t> </a:t>
            </a:r>
            <a:r>
              <a:rPr lang="de-DE" altLang="ko-Kore-DE" sz="800" i="1" dirty="0" err="1"/>
              <a:t>Foundations</a:t>
            </a:r>
            <a:r>
              <a:rPr lang="de-DE" altLang="ko-Kore-DE" sz="800" i="1" dirty="0"/>
              <a:t> </a:t>
            </a:r>
            <a:r>
              <a:rPr lang="de-DE" altLang="ko-Kore-DE" sz="800" i="1" dirty="0" err="1"/>
              <a:t>and</a:t>
            </a:r>
            <a:r>
              <a:rPr lang="de-DE" altLang="ko-Kore-DE" sz="800" i="1" dirty="0"/>
              <a:t> Trends in</a:t>
            </a:r>
            <a:r>
              <a:rPr lang="ko-KR" altLang="en-US" sz="800" i="1" dirty="0"/>
              <a:t> </a:t>
            </a:r>
            <a:r>
              <a:rPr lang="de-DE" altLang="ko-Kore-DE" sz="800" i="1" dirty="0" err="1"/>
              <a:t>Theoretical</a:t>
            </a:r>
            <a:r>
              <a:rPr lang="de-DE" altLang="ko-Kore-DE" sz="800" i="1" dirty="0"/>
              <a:t> Computer Science</a:t>
            </a:r>
            <a:r>
              <a:rPr lang="de-DE" altLang="ko-Kore-DE" sz="800" dirty="0"/>
              <a:t>, 9(3{4):211{407, 2014.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ADD566F-EA4E-2D41-A01D-AAAB5E8C56F0}"/>
              </a:ext>
            </a:extLst>
          </p:cNvPr>
          <p:cNvSpPr/>
          <p:nvPr/>
        </p:nvSpPr>
        <p:spPr>
          <a:xfrm>
            <a:off x="2088852" y="1532482"/>
            <a:ext cx="48413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kumimoji="1" lang="en-US" altLang="ko-Kore-DE" sz="1600" b="1" dirty="0"/>
              <a:t>Local Differential Privacy (LDP) of Each User</a:t>
            </a:r>
            <a:r>
              <a:rPr kumimoji="1" lang="ko-KR" altLang="en-US" sz="1600" b="1" dirty="0"/>
              <a:t> </a:t>
            </a:r>
            <a:r>
              <a:rPr kumimoji="1" lang="en-US" altLang="ko-Kore-DE" sz="1600" dirty="0"/>
              <a:t>[4]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265D84E-D918-274B-B7D5-83225D7049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489" t="33334" r="13999" b="34860"/>
          <a:stretch/>
        </p:blipFill>
        <p:spPr>
          <a:xfrm>
            <a:off x="5729868" y="2021079"/>
            <a:ext cx="2739557" cy="177386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2884746E-95AC-3F49-842E-69D642876D9B}"/>
                  </a:ext>
                </a:extLst>
              </p:cNvPr>
              <p:cNvSpPr/>
              <p:nvPr/>
            </p:nvSpPr>
            <p:spPr>
              <a:xfrm>
                <a:off x="5387932" y="2189594"/>
                <a:ext cx="1279133" cy="300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kumimoji="1" lang="en-US" altLang="ko-KR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kumimoji="1" lang="en-US" altLang="ko-KR">
                              <a:latin typeface="Cambria Math" panose="02040503050406030204" pitchFamily="18" charset="0"/>
                            </a:rPr>
                            <m:t>Pr</m:t>
                          </m:r>
                        </m:fName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kumimoji="1" lang="en-US" altLang="ko-K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ℳ</m:t>
                                  </m:r>
                                </m:e>
                                <m:sub>
                                  <m: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kumimoji="1" lang="en-US" altLang="ko-Kore-DE" b="1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̅"/>
                                          <m:ctrlPr>
                                            <a:rPr kumimoji="1" lang="en-US" altLang="ko-KR" i="1" dirty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kumimoji="1" lang="en-US" altLang="ko-KR" b="1" i="1" dirty="0">
                                              <a:latin typeface="Cambria Math" panose="02040503050406030204" pitchFamily="18" charset="0"/>
                                            </a:rPr>
                                            <m:t>𝒈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kumimoji="1" lang="en-US" altLang="ko-Kore-DE" i="1" dirty="0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kumimoji="1" lang="en-US" altLang="ko-Kore-DE" b="1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1" lang="en-US" altLang="ko-Kore-DE" i="1" dirty="0">
                                          <a:latin typeface="Cambria Math" panose="02040503050406030204" pitchFamily="18" charset="0"/>
                                        </a:rPr>
                                        <m:t>𝐷</m:t>
                                      </m:r>
                                    </m:e>
                                  </m:d>
                                </m:e>
                              </m:d>
                            </m:e>
                          </m:d>
                        </m:e>
                      </m:func>
                    </m:oMath>
                  </m:oMathPara>
                </a14:m>
                <a:endParaRPr lang="ko-Kore-DE" altLang="en-US" dirty="0"/>
              </a:p>
            </p:txBody>
          </p:sp>
        </mc:Choice>
        <mc:Fallback xmlns=""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2884746E-95AC-3F49-842E-69D642876D9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7932" y="2189594"/>
                <a:ext cx="1279133" cy="3007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09A42214-1517-5244-9EC2-C7848932458B}"/>
                  </a:ext>
                </a:extLst>
              </p:cNvPr>
              <p:cNvSpPr/>
              <p:nvPr/>
            </p:nvSpPr>
            <p:spPr>
              <a:xfrm>
                <a:off x="7794849" y="2896430"/>
                <a:ext cx="1349151" cy="300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kumimoji="1"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kumimoji="1" lang="en-US" altLang="ko-KR" b="0" i="0" smtClean="0">
                              <a:latin typeface="Cambria Math" panose="02040503050406030204" pitchFamily="18" charset="0"/>
                            </a:rPr>
                            <m:t>Pr</m:t>
                          </m:r>
                        </m:fName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kumimoji="1" lang="en-US" altLang="ko-KR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ℳ</m:t>
                                  </m:r>
                                </m:e>
                                <m:sub>
                                  <m: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kumimoji="1" lang="en-US" altLang="ko-K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kumimoji="1" lang="en-US" altLang="ko-Kore-DE" b="1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̅"/>
                                          <m:ctrlPr>
                                            <a:rPr kumimoji="1" lang="en-US" altLang="ko-KR" i="1" dirty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kumimoji="1" lang="en-US" altLang="ko-KR" b="1" i="1" dirty="0">
                                              <a:latin typeface="Cambria Math" panose="02040503050406030204" pitchFamily="18" charset="0"/>
                                            </a:rPr>
                                            <m:t>𝒈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kumimoji="1" lang="en-US" altLang="ko-Kore-DE" i="1" dirty="0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kumimoji="1" lang="en-US" altLang="ko-Kore-DE" b="1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kumimoji="1" lang="en-US" altLang="ko-Kore-DE" b="1" i="1" dirty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kumimoji="1" lang="en-US" altLang="ko-Kor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𝐷</m:t>
                                          </m:r>
                                        </m:e>
                                        <m:sup>
                                          <m:r>
                                            <a:rPr kumimoji="1" lang="en-US" altLang="ko-Kor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</m:d>
                            </m:e>
                          </m:d>
                        </m:e>
                      </m:func>
                    </m:oMath>
                  </m:oMathPara>
                </a14:m>
                <a:endParaRPr lang="ko-Kore-DE" altLang="en-US" dirty="0"/>
              </a:p>
            </p:txBody>
          </p:sp>
        </mc:Choice>
        <mc:Fallback xmlns=""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09A42214-1517-5244-9EC2-C7848932458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4849" y="2896430"/>
                <a:ext cx="1349151" cy="300788"/>
              </a:xfrm>
              <a:prstGeom prst="rect">
                <a:avLst/>
              </a:prstGeom>
              <a:blipFill>
                <a:blip r:embed="rId6"/>
                <a:stretch>
                  <a:fillRect b="-4167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F4841A75-C0AC-324B-A8BB-17F1B2853AD7}"/>
              </a:ext>
            </a:extLst>
          </p:cNvPr>
          <p:cNvCxnSpPr/>
          <p:nvPr/>
        </p:nvCxnSpPr>
        <p:spPr bwMode="auto">
          <a:xfrm>
            <a:off x="6252228" y="2490382"/>
            <a:ext cx="506627" cy="8758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EAA82E91-F3CB-FA40-902E-6AA4FA8A71CF}"/>
              </a:ext>
            </a:extLst>
          </p:cNvPr>
          <p:cNvCxnSpPr/>
          <p:nvPr/>
        </p:nvCxnSpPr>
        <p:spPr bwMode="auto">
          <a:xfrm flipH="1" flipV="1">
            <a:off x="7528300" y="2735496"/>
            <a:ext cx="407773" cy="1986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rgbClr val="E05300"/>
            </a:solidFill>
            <a:prstDash val="solid"/>
            <a:round/>
            <a:headEnd type="none" w="med" len="med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모서리가 둥근 직사각형 13">
                <a:extLst>
                  <a:ext uri="{FF2B5EF4-FFF2-40B4-BE49-F238E27FC236}">
                    <a16:creationId xmlns:a16="http://schemas.microsoft.com/office/drawing/2014/main" id="{D41C7096-4F99-7E48-BD61-5C1026B554C3}"/>
                  </a:ext>
                </a:extLst>
              </p:cNvPr>
              <p:cNvSpPr/>
              <p:nvPr/>
            </p:nvSpPr>
            <p:spPr bwMode="auto">
              <a:xfrm>
                <a:off x="937552" y="5388800"/>
                <a:ext cx="7265719" cy="504497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  <a:alpha val="73211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r>
                  <a:rPr kumimoji="1" lang="en-US" altLang="ko-Kore-DE" sz="15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Helvetica" pitchFamily="2" charset="0"/>
                  </a:rPr>
                  <a:t>Privacy accounting: how does LDP change by iteration? and after </a:t>
                </a:r>
                <a14:m>
                  <m:oMath xmlns:m="http://schemas.openxmlformats.org/officeDocument/2006/math">
                    <m:r>
                      <a:rPr kumimoji="1" lang="en-US" altLang="ko-Kore-DE" sz="1500" i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kumimoji="1" lang="en-US" altLang="ko-Kore-DE" sz="15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Helvetica" pitchFamily="2" charset="0"/>
                  </a:rPr>
                  <a:t> iterations?</a:t>
                </a:r>
              </a:p>
              <a:p>
                <a:r>
                  <a:rPr kumimoji="1" lang="en-US" altLang="ko-Kore-DE" sz="15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Helvetica" pitchFamily="2" charset="0"/>
                  </a:rPr>
                  <a:t>How much LDP is improved by introducing random sampling, i.e.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sz="1400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kumimoji="1" lang="en-US" altLang="ko-Kore-DE" sz="14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ore-DE" sz="1400" i="1">
                        <a:latin typeface="Cambria Math" panose="02040503050406030204" pitchFamily="18" charset="0"/>
                      </a:rPr>
                      <m:t>&lt;1</m:t>
                    </m:r>
                  </m:oMath>
                </a14:m>
                <a:r>
                  <a:rPr kumimoji="1" lang="en-US" altLang="ko-Kore-DE" sz="15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Helvetica" pitchFamily="2" charset="0"/>
                  </a:rPr>
                  <a:t>? </a:t>
                </a:r>
                <a:endParaRPr kumimoji="1" lang="ko-Kore-DE" altLang="en-US" sz="15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14" name="모서리가 둥근 직사각형 13">
                <a:extLst>
                  <a:ext uri="{FF2B5EF4-FFF2-40B4-BE49-F238E27FC236}">
                    <a16:creationId xmlns:a16="http://schemas.microsoft.com/office/drawing/2014/main" id="{D41C7096-4F99-7E48-BD61-5C1026B554C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37552" y="5388800"/>
                <a:ext cx="7265719" cy="504497"/>
              </a:xfrm>
              <a:prstGeom prst="roundRect">
                <a:avLst/>
              </a:prstGeom>
              <a:blipFill>
                <a:blip r:embed="rId7"/>
                <a:stretch>
                  <a:fillRect t="-7317" b="-17073"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직사각형 15">
            <a:extLst>
              <a:ext uri="{FF2B5EF4-FFF2-40B4-BE49-F238E27FC236}">
                <a16:creationId xmlns:a16="http://schemas.microsoft.com/office/drawing/2014/main" id="{3AC80BEE-99C5-FD46-808B-0B05BC3FD26F}"/>
              </a:ext>
            </a:extLst>
          </p:cNvPr>
          <p:cNvSpPr/>
          <p:nvPr/>
        </p:nvSpPr>
        <p:spPr>
          <a:xfrm>
            <a:off x="2816070" y="3916458"/>
            <a:ext cx="33292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kumimoji="1" lang="en-US" altLang="ko-Kore-DE" sz="1600" b="1" dirty="0"/>
              <a:t>LDP by Gaussian Mechanism </a:t>
            </a:r>
            <a:r>
              <a:rPr kumimoji="1" lang="en-US" altLang="ko-Kore-DE" sz="1600" dirty="0"/>
              <a:t>[5]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4973A71-098A-B648-BD7D-4B05046C89A0}"/>
                  </a:ext>
                </a:extLst>
              </p:cNvPr>
              <p:cNvSpPr txBox="1"/>
              <p:nvPr/>
            </p:nvSpPr>
            <p:spPr>
              <a:xfrm>
                <a:off x="1695411" y="4464498"/>
                <a:ext cx="5628272" cy="5379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kumimoji="1" lang="en-US" altLang="ko-KR" dirty="0">
                    <a:latin typeface="Cambria" panose="02040503050406030204" pitchFamily="18" charset="0"/>
                  </a:rPr>
                  <a:t>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ore-DE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kumimoji="1" lang="en-US" altLang="ko-KR" dirty="0">
                    <a:latin typeface="Cambria" panose="02040503050406030204" pitchFamily="18" charset="0"/>
                  </a:rPr>
                  <a:t> (no sampling), Gaussian mechanis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ℳ</m:t>
                        </m:r>
                      </m:e>
                      <m:sub>
                        <m:r>
                          <a:rPr kumimoji="1" lang="en-US" altLang="ko-KR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kumimoji="1" lang="en-US" altLang="ko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kumimoji="1" lang="en-US" altLang="ko-Kore-DE" b="1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𝒈</m:t>
                                </m:r>
                              </m:e>
                            </m:acc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d>
                              <m:dPr>
                                <m:ctrlP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ko-Kor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sup>
                        </m:sSubSup>
                      </m:e>
                    </m:d>
                  </m:oMath>
                </a14:m>
                <a:r>
                  <a:rPr kumimoji="1" lang="en-US" altLang="ko-Kore-DE" i="1" dirty="0">
                    <a:latin typeface="Cambria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1" lang="en-US" altLang="ko-KR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̅"/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  <m:sup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p>
                    </m:sSubSup>
                    <m:r>
                      <a:rPr kumimoji="1" lang="en-US" altLang="ko-K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kumimoji="1" lang="en-US" altLang="ko-KR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𝒩</m:t>
                    </m:r>
                    <m:d>
                      <m:dPr>
                        <m:ctrlPr>
                          <a:rPr kumimoji="1" lang="en-US" altLang="ko-KR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1" lang="en-US" altLang="ko-Kor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𝟎</m:t>
                        </m:r>
                        <m:r>
                          <a:rPr kumimoji="1" lang="en-US" altLang="ko-Kor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𝐶</m:t>
                            </m:r>
                          </m:e>
                          <m: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sSubSup>
                          <m:sSubSupPr>
                            <m:ctrlP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sSub>
                          <m:sSubPr>
                            <m:ctrlP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𝜤</m:t>
                            </m:r>
                          </m:e>
                          <m:sub>
                            <m:r>
                              <a:rPr kumimoji="1" lang="en-US" altLang="ko-Kor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</m:e>
                    </m:d>
                  </m:oMath>
                </a14:m>
                <a:endParaRPr kumimoji="1" lang="en-US" altLang="ko-Kore-DE" b="1" i="1" dirty="0">
                  <a:latin typeface="Cambria" panose="02040503050406030204" pitchFamily="18" charset="0"/>
                  <a:ea typeface="Cambria Math" panose="02040503050406030204" pitchFamily="18" charset="0"/>
                </a:endParaRPr>
              </a:p>
              <a:p>
                <a:pPr algn="l"/>
                <a:r>
                  <a:rPr kumimoji="1" lang="en-US" altLang="ko-Kore-DE" dirty="0">
                    <a:latin typeface="Cambria" panose="02040503050406030204" pitchFamily="18" charset="0"/>
                  </a:rPr>
                  <a:t>satisfies </a:t>
                </a:r>
                <a14:m>
                  <m:oMath xmlns:m="http://schemas.openxmlformats.org/officeDocument/2006/math">
                    <m:d>
                      <m:dPr>
                        <m:ctrlP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  <m:sub>
                            <m: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kumimoji="1" lang="en-US" altLang="ko-Kore-DE" b="0" i="0" smtClean="0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LDP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kumimoji="1" lang="en-US" altLang="ko-Kore-DE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kumimoji="1" lang="en-US" altLang="ko-Kore-DE" b="0" i="1" smtClean="0">
                        <a:latin typeface="Cambria Math" panose="02040503050406030204" pitchFamily="18" charset="0"/>
                      </a:rPr>
                      <m:t>≥</m:t>
                    </m:r>
                    <m:f>
                      <m:fPr>
                        <m:ctrlP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num>
                      <m:den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func>
                      <m:funcPr>
                        <m:ctrlP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kumimoji="1" lang="en-US" altLang="ko-Kore-DE" b="0" i="0" smtClean="0">
                            <a:latin typeface="Cambria Math" panose="02040503050406030204" pitchFamily="18" charset="0"/>
                          </a:rPr>
                          <m:t>exp</m:t>
                        </m:r>
                      </m:fName>
                      <m:e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(−</m:t>
                        </m:r>
                        <m:sSup>
                          <m:sSupPr>
                            <m:ctrlP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kumimoji="1" lang="en-US" altLang="ko-Kor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  <m:t>𝜖</m:t>
                                    </m:r>
                                  </m:e>
                                  <m:sub>
                                    <m:r>
                                      <a:rPr kumimoji="1" lang="en-US" altLang="ko-Kore-DE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kumimoji="1" lang="en-US" altLang="ko-Kor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kumimoji="1" lang="en-US" altLang="ko-Kore-DE" b="0" i="1" smtClean="0">
                            <a:latin typeface="Cambria Math" panose="02040503050406030204" pitchFamily="18" charset="0"/>
                          </a:rPr>
                          <m:t>/2)</m:t>
                        </m:r>
                      </m:e>
                    </m:func>
                  </m:oMath>
                </a14:m>
                <a:r>
                  <a:rPr kumimoji="1" lang="en-US" altLang="ko-Kore-DE" dirty="0">
                    <a:latin typeface="Cambria" panose="02040503050406030204" pitchFamily="18" charset="0"/>
                  </a:rPr>
                  <a:t>.</a:t>
                </a:r>
                <a:endParaRPr kumimoji="1" lang="ko-Kore-DE" altLang="en-US" dirty="0">
                  <a:latin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4973A71-098A-B648-BD7D-4B05046C89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95411" y="4464498"/>
                <a:ext cx="5628272" cy="537968"/>
              </a:xfrm>
              <a:prstGeom prst="rect">
                <a:avLst/>
              </a:prstGeom>
              <a:blipFill>
                <a:blip r:embed="rId8"/>
                <a:stretch>
                  <a:fillRect l="-1577" t="-2273" b="-6818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32971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B97C907-0065-E54B-8935-0751A6FB2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815149"/>
            <a:ext cx="8061325" cy="294953"/>
          </a:xfrm>
        </p:spPr>
        <p:txBody>
          <a:bodyPr/>
          <a:lstStyle/>
          <a:p>
            <a:r>
              <a:rPr kumimoji="1" lang="en-US" altLang="ko-Kore-DE" sz="2000" dirty="0"/>
              <a:t>Performance Metrics</a:t>
            </a:r>
            <a:r>
              <a:rPr kumimoji="1" lang="en-US" altLang="ko-KR" sz="2000" dirty="0"/>
              <a:t>: Global Utility</a:t>
            </a:r>
            <a:endParaRPr kumimoji="1" lang="ko-Kore-DE" alt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/>
              <p:nvPr/>
            </p:nvSpPr>
            <p:spPr>
              <a:xfrm>
                <a:off x="2545153" y="3885215"/>
                <a:ext cx="4463129" cy="20499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l"/>
                <a:endParaRPr kumimoji="1" lang="en-US" altLang="ko-Kore-DE" sz="1400" dirty="0"/>
              </a:p>
              <a:p>
                <a:pPr algn="l"/>
                <a:r>
                  <a:rPr kumimoji="1" lang="en-US" altLang="ko-Kore-DE" sz="1400" b="1" dirty="0"/>
                  <a:t>Global Utility </a:t>
                </a:r>
                <a:r>
                  <a:rPr kumimoji="1" lang="en-US" altLang="ko-Kore-DE" sz="1400" dirty="0"/>
                  <a:t>is defined by the multiplicative inverse of the convergence rate [6], i.e., </a:t>
                </a:r>
                <a:endParaRPr kumimoji="1" lang="en-US" altLang="ko-Kore-DE" sz="1400" b="1" dirty="0"/>
              </a:p>
              <a:p>
                <a:pPr algn="l"/>
                <a:r>
                  <a:rPr kumimoji="1" lang="en-US" altLang="ko-Kore-DE" sz="900" dirty="0"/>
                  <a:t> 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DE" sz="1400" b="1" i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libri" panose="020F0502020204030204" pitchFamily="34" charset="0"/>
                        </a:rPr>
                        <m:t>𝒰</m:t>
                      </m:r>
                      <m:d>
                        <m:dPr>
                          <m:ctrlPr>
                            <a:rPr kumimoji="1" lang="en-US" altLang="ko-Kore-DE" sz="1400" b="1" i="1" dirty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kumimoji="1" lang="en-US" altLang="ko-Kore-DE" sz="1400" i="1" dirty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𝑇</m:t>
                          </m:r>
                        </m:e>
                      </m:d>
                      <m:r>
                        <a:rPr kumimoji="1" lang="en-US" altLang="ko-Kore-DE" sz="1400" b="1" i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libri" panose="020F0502020204030204" pitchFamily="34" charset="0"/>
                        </a:rPr>
                        <m:t>=</m:t>
                      </m:r>
                      <m:f>
                        <m:fPr>
                          <m:ctrlPr>
                            <a:rPr kumimoji="1" lang="en-US" altLang="ko-Kore-DE" sz="1400" b="1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fPr>
                        <m:num>
                          <m:r>
                            <a:rPr kumimoji="1" lang="en-US" altLang="ko-Kore-DE" sz="1400" b="0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kumimoji="1" lang="en-US" altLang="ko-Kore-DE" sz="1400" b="1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kumimoji="1" lang="en-US" altLang="ko-Kore-DE" sz="1400" b="1" i="1" dirty="0" smtClean="0">
                                  <a:solidFill>
                                    <a:schemeClr val="tx1">
                                      <a:lumMod val="85000"/>
                                      <a:lumOff val="1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kumimoji="1" lang="en-US" altLang="ko-Kore-DE" sz="1400" b="1" i="1" dirty="0" smtClean="0">
                                  <a:solidFill>
                                    <a:schemeClr val="tx1">
                                      <a:lumMod val="85000"/>
                                      <a:lumOff val="1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  <m:t>ℒ</m:t>
                              </m:r>
                              <m:d>
                                <m:dPr>
                                  <m:ctrlPr>
                                    <a:rPr kumimoji="1" lang="en-US" altLang="ko-Kore-DE" sz="1400" b="1" i="1" dirty="0" smtClean="0">
                                      <a:solidFill>
                                        <a:schemeClr val="tx1">
                                          <a:lumMod val="85000"/>
                                          <a:lumOff val="1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Calibri" panose="020F0502020204030204" pitchFamily="34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𝒘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kumimoji="1" lang="en-US" altLang="ko-Kore-DE" sz="1400" b="1" i="1" dirty="0" smtClean="0">
                                              <a:solidFill>
                                                <a:schemeClr val="tx1">
                                                  <a:lumMod val="85000"/>
                                                  <a:lumOff val="15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  <a:cs typeface="Calibri" panose="020F0502020204030204" pitchFamily="34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kumimoji="1" lang="en-US" altLang="ko-Kore-DE" sz="1400" b="0" i="1" dirty="0" smtClean="0">
                                              <a:solidFill>
                                                <a:schemeClr val="tx1">
                                                  <a:lumMod val="85000"/>
                                                  <a:lumOff val="15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  <a:cs typeface="Calibri" panose="020F0502020204030204" pitchFamily="34" charset="0"/>
                                            </a:rPr>
                                            <m:t>𝑇</m:t>
                                          </m:r>
                                        </m:e>
                                      </m:d>
                                    </m:sup>
                                  </m:sSup>
                                  <m:r>
                                    <a:rPr kumimoji="1" lang="en-US" altLang="ko-Kore-DE" sz="1400" b="1" i="1" dirty="0" smtClean="0">
                                      <a:solidFill>
                                        <a:schemeClr val="tx1">
                                          <a:lumMod val="85000"/>
                                          <a:lumOff val="1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Calibri" panose="020F0502020204030204" pitchFamily="34" charset="0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𝒥</m:t>
                                      </m:r>
                                    </m:e>
                                    <m:sup>
                                      <m: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(</m:t>
                                      </m:r>
                                      <m:r>
                                        <a:rPr kumimoji="1" lang="en-US" altLang="ko-Kore-DE" sz="1400" b="0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𝑇</m:t>
                                      </m:r>
                                      <m: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)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kumimoji="1" lang="en-US" altLang="ko-Kore-DE" sz="1400" b="1" i="1" dirty="0" smtClean="0">
                                  <a:solidFill>
                                    <a:schemeClr val="tx1">
                                      <a:lumMod val="85000"/>
                                      <a:lumOff val="1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kumimoji="1" lang="en-US" altLang="ko-Kore-DE" sz="1400" b="1" i="1" dirty="0">
                                  <a:solidFill>
                                    <a:schemeClr val="tx1">
                                      <a:lumMod val="85000"/>
                                      <a:lumOff val="1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  <m:t>ℒ</m:t>
                              </m:r>
                              <m:d>
                                <m:dPr>
                                  <m:ctrlPr>
                                    <a:rPr kumimoji="1" lang="en-US" altLang="ko-Kore-DE" sz="1400" b="1" i="1" dirty="0">
                                      <a:solidFill>
                                        <a:schemeClr val="tx1">
                                          <a:lumMod val="85000"/>
                                          <a:lumOff val="1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Calibri" panose="020F0502020204030204" pitchFamily="34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kumimoji="1" lang="en-US" altLang="ko-Kore-DE" sz="1400" b="1" i="1" dirty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1" lang="en-US" altLang="ko-Kore-DE" sz="1400" b="1" i="1" dirty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𝒘</m:t>
                                      </m:r>
                                    </m:e>
                                    <m:sup>
                                      <m:r>
                                        <a:rPr kumimoji="1" lang="en-US" altLang="ko-Kore-DE" sz="1400" b="1" i="1" dirty="0" smtClean="0"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Calibri" panose="020F0502020204030204" pitchFamily="34" charset="0"/>
                                        </a:rPr>
                                        <m:t>∗</m:t>
                                      </m:r>
                                    </m:sup>
                                  </m:sSup>
                                  <m:r>
                                    <a:rPr kumimoji="1" lang="en-US" altLang="ko-Kore-DE" sz="1400" b="1" i="1" dirty="0" smtClean="0">
                                      <a:solidFill>
                                        <a:schemeClr val="tx1">
                                          <a:lumMod val="85000"/>
                                          <a:lumOff val="1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Calibri" panose="020F0502020204030204" pitchFamily="34" charset="0"/>
                                    </a:rPr>
                                    <m:t>,</m:t>
                                  </m:r>
                                  <m:nary>
                                    <m:naryPr>
                                      <m:chr m:val="⋃"/>
                                      <m:limLoc m:val="subSup"/>
                                      <m:ctrlPr>
                                        <a:rPr kumimoji="1" lang="en-US" altLang="ko-Kor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5"/>
                                        </m:rPr>
                                        <a:rPr kumimoji="1" lang="en-US" altLang="ko-Kor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kumimoji="1" lang="en-US" altLang="ko-Kor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kumimoji="1" lang="en-US" altLang="ko-Kor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𝐾</m:t>
                                      </m:r>
                                    </m:sup>
                                    <m:e>
                                      <m:sSub>
                                        <m:sSubPr>
                                          <m:ctrlPr>
                                            <a:rPr kumimoji="1" lang="en-US" altLang="ko-Kore-DE" sz="14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ore-DE" sz="14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𝒟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ore-DE" sz="14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</m:e>
                          </m:d>
                        </m:den>
                      </m:f>
                      <m:r>
                        <a:rPr kumimoji="1" lang="en-US" altLang="ko-Kore-DE" sz="1400" b="1" i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libri" panose="020F0502020204030204" pitchFamily="34" charset="0"/>
                        </a:rPr>
                        <m:t>.</m:t>
                      </m:r>
                    </m:oMath>
                  </m:oMathPara>
                </a14:m>
                <a:endParaRPr kumimoji="1" lang="en-US" altLang="ko-Kore-DE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Cambria Math" panose="02040503050406030204" pitchFamily="18" charset="0"/>
                  <a:cs typeface="Calibri" panose="020F0502020204030204" pitchFamily="34" charset="0"/>
                </a:endParaRPr>
              </a:p>
              <a:p>
                <a:endParaRPr kumimoji="1" lang="en-US" altLang="ko-Kore-DE" sz="900" b="1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ko-Kore-DE" sz="1400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pPr>
                      <m:e>
                        <m:r>
                          <a:rPr kumimoji="1" lang="en-US" altLang="ko-Kore-DE" sz="1400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ko-Kore-DE" sz="1400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∗</m:t>
                        </m:r>
                      </m:sup>
                    </m:sSup>
                    <m:r>
                      <a:rPr kumimoji="1" lang="en-US" altLang="ko-Kore-DE" sz="1400" b="1" i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=</m:t>
                    </m:r>
                    <m:func>
                      <m:funcPr>
                        <m:ctrlPr>
                          <a:rPr kumimoji="1" lang="en-US" altLang="ko-Kore-DE" sz="1400" b="1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kumimoji="1" lang="en-US" altLang="ko-Kore-DE" sz="1400" b="1" i="1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limLowPr>
                          <m:e>
                            <m:r>
                              <a:rPr kumimoji="1" lang="en-US" altLang="ko-Kore-DE" sz="1400" b="0" i="1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𝑎𝑟𝑔</m:t>
                            </m:r>
                            <m:r>
                              <a:rPr kumimoji="1" lang="en-US" altLang="ko-Kore-DE" sz="1400" b="1" i="1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kumimoji="1" lang="en-US" altLang="ko-Kore-DE" sz="1400" b="0" i="0" dirty="0" smtClean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min</m:t>
                            </m:r>
                          </m:e>
                          <m:lim>
                            <m:r>
                              <a:rPr kumimoji="1" lang="en-US" altLang="ko-Kore-DE" sz="1400" b="1" i="1" dirty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𝒘</m:t>
                            </m:r>
                            <m:r>
                              <a:rPr kumimoji="1" lang="en-US" altLang="ko-Kore-DE" sz="1400" b="1" i="1" dirty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∈</m:t>
                            </m:r>
                            <m:sSup>
                              <m:sSupPr>
                                <m:ctrlPr>
                                  <a:rPr kumimoji="1" lang="en-US" altLang="ko-Kore-DE" sz="1400" b="1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</m:ctrlPr>
                              </m:sSupPr>
                              <m:e>
                                <m:r>
                                  <a:rPr kumimoji="1" lang="en-US" altLang="ko-Kore-DE" sz="1400" b="1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ℝ</m:t>
                                </m:r>
                              </m:e>
                              <m:sup>
                                <m:r>
                                  <a:rPr kumimoji="1" lang="en-US" altLang="ko-Kore-DE" sz="1400" b="0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𝑑</m:t>
                                </m:r>
                              </m:sup>
                            </m:sSup>
                          </m:lim>
                        </m:limLow>
                      </m:fName>
                      <m:e>
                        <m:r>
                          <a:rPr kumimoji="1" lang="en-US" altLang="ko-Kore-DE" sz="1400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ℒ</m:t>
                        </m:r>
                        <m:d>
                          <m:dPr>
                            <m:ctrlPr>
                              <a:rPr kumimoji="1" lang="en-US" altLang="ko-Kore-DE" sz="1400" b="1" i="1" dirty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kumimoji="1" lang="en-US" altLang="ko-Kore-DE" sz="1400" b="1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</m:ctrlPr>
                              </m:sSupPr>
                              <m:e>
                                <m:r>
                                  <a:rPr kumimoji="1" lang="en-US" altLang="ko-Kore-DE" sz="1400" b="1" i="1" dirty="0">
                                    <a:solidFill>
                                      <a:schemeClr val="tx1">
                                        <a:lumMod val="85000"/>
                                        <a:lumOff val="1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  <m:t>𝒘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kumimoji="1" lang="en-US" altLang="ko-Kore-DE" sz="1400" b="1" i="1" dirty="0">
                                        <a:solidFill>
                                          <a:schemeClr val="tx1">
                                            <a:lumMod val="85000"/>
                                            <a:lumOff val="1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Calibri" panose="020F0502020204030204" pitchFamily="34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kumimoji="1" lang="en-US" altLang="ko-Kore-DE" sz="1400" i="1" dirty="0">
                                        <a:solidFill>
                                          <a:schemeClr val="tx1">
                                            <a:lumMod val="85000"/>
                                            <a:lumOff val="1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Calibri" panose="020F0502020204030204" pitchFamily="34" charset="0"/>
                                      </a:rPr>
                                      <m:t>𝑡</m:t>
                                    </m:r>
                                  </m:e>
                                </m:d>
                              </m:sup>
                            </m:sSup>
                            <m:r>
                              <a:rPr kumimoji="1" lang="en-US" altLang="ko-Kore-DE" sz="1400" b="1" i="1" dirty="0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,</m:t>
                            </m:r>
                            <m:nary>
                              <m:naryPr>
                                <m:chr m:val="⋃"/>
                                <m:limLoc m:val="subSup"/>
                                <m:ctrlPr>
                                  <a:rPr kumimoji="1" lang="en-US" altLang="ko-Kore-DE" sz="1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5"/>
                                  </m:rPr>
                                  <a:rPr kumimoji="1" lang="en-US" altLang="ko-Kore-DE" sz="1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kumimoji="1" lang="en-US" altLang="ko-Kore-DE" sz="1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kumimoji="1" lang="en-US" altLang="ko-Kore-DE" sz="1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𝐾</m:t>
                                </m:r>
                              </m:sup>
                              <m:e>
                                <m:sSub>
                                  <m:sSubPr>
                                    <m:ctrlPr>
                                      <a:rPr kumimoji="1" lang="en-US" altLang="ko-Kore-DE" sz="14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DE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𝒟</m:t>
                                    </m:r>
                                  </m:e>
                                  <m:sub>
                                    <m:r>
                                      <a:rPr kumimoji="1" lang="en-US" altLang="ko-Kore-DE" sz="14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nary>
                          </m:e>
                        </m:d>
                      </m:e>
                    </m:func>
                    <m:r>
                      <a:rPr kumimoji="1" lang="en-US" altLang="ko-Kore-DE" sz="1400" b="1" i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:</m:t>
                    </m:r>
                  </m:oMath>
                </a14:m>
                <a:r>
                  <a:rPr kumimoji="1" lang="en-US" altLang="ko-Kore-DE" sz="1400" dirty="0"/>
                  <a:t> optimal weight vector</a:t>
                </a:r>
                <a:endParaRPr kumimoji="1" lang="en-US" altLang="ko-Kore-DE" sz="1400" b="1" dirty="0"/>
              </a:p>
              <a:p>
                <a:r>
                  <a:rPr kumimoji="1" lang="en-US" altLang="ko-Kore-DE" sz="1400" dirty="0"/>
                  <a:t> </a:t>
                </a:r>
              </a:p>
            </p:txBody>
          </p:sp>
        </mc:Choice>
        <mc:Fallback xmlns="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153" y="3885215"/>
                <a:ext cx="4463129" cy="2049920"/>
              </a:xfrm>
              <a:prstGeom prst="rect">
                <a:avLst/>
              </a:prstGeom>
              <a:blipFill>
                <a:blip r:embed="rId3"/>
                <a:stretch>
                  <a:fillRect l="-568" b="-3681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F3E2C0C4-AC4A-F341-868A-210178F931AC}"/>
              </a:ext>
            </a:extLst>
          </p:cNvPr>
          <p:cNvSpPr txBox="1"/>
          <p:nvPr/>
        </p:nvSpPr>
        <p:spPr>
          <a:xfrm>
            <a:off x="539751" y="6188093"/>
            <a:ext cx="77269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de-DE" altLang="ko-Kore-DE" sz="300" dirty="0"/>
          </a:p>
          <a:p>
            <a:pPr algn="l"/>
            <a:r>
              <a:rPr kumimoji="1" lang="de-DE" altLang="ko-Kore-DE" sz="900" dirty="0"/>
              <a:t>[6] </a:t>
            </a:r>
            <a:r>
              <a:rPr lang="de-DE" altLang="ko-Kore-DE" sz="900" dirty="0"/>
              <a:t>A. </a:t>
            </a:r>
            <a:r>
              <a:rPr lang="de-DE" altLang="ko-Kore-DE" sz="900" dirty="0" err="1"/>
              <a:t>Rakhlin</a:t>
            </a:r>
            <a:r>
              <a:rPr lang="de-DE" altLang="ko-Kore-DE" sz="900" dirty="0"/>
              <a:t>, O. </a:t>
            </a:r>
            <a:r>
              <a:rPr lang="de-DE" altLang="ko-Kore-DE" sz="900" dirty="0" err="1"/>
              <a:t>Shamir</a:t>
            </a:r>
            <a:r>
              <a:rPr lang="de-DE" altLang="ko-Kore-DE" sz="900" dirty="0"/>
              <a:t>, </a:t>
            </a:r>
            <a:r>
              <a:rPr lang="de-DE" altLang="ko-Kore-DE" sz="900" dirty="0" err="1"/>
              <a:t>and</a:t>
            </a:r>
            <a:r>
              <a:rPr lang="de-DE" altLang="ko-Kore-DE" sz="900" dirty="0"/>
              <a:t> K. </a:t>
            </a:r>
            <a:r>
              <a:rPr lang="de-DE" altLang="ko-Kore-DE" sz="900" dirty="0" err="1"/>
              <a:t>Sridharan</a:t>
            </a:r>
            <a:r>
              <a:rPr lang="de-DE" altLang="ko-Kore-DE" sz="900" dirty="0"/>
              <a:t>, “Making </a:t>
            </a:r>
            <a:r>
              <a:rPr lang="de-DE" altLang="ko-Kore-DE" sz="900" dirty="0" err="1"/>
              <a:t>gradient</a:t>
            </a:r>
            <a:r>
              <a:rPr lang="de-DE" altLang="ko-Kore-DE" sz="900" dirty="0"/>
              <a:t> </a:t>
            </a:r>
            <a:r>
              <a:rPr lang="de-DE" altLang="ko-Kore-DE" sz="900" dirty="0" err="1"/>
              <a:t>descent</a:t>
            </a:r>
            <a:r>
              <a:rPr lang="de-DE" altLang="ko-Kore-DE" sz="900" dirty="0"/>
              <a:t> optimal </a:t>
            </a:r>
            <a:r>
              <a:rPr lang="de-DE" altLang="ko-Kore-DE" sz="900" dirty="0" err="1"/>
              <a:t>for</a:t>
            </a:r>
            <a:r>
              <a:rPr lang="de-DE" altLang="ko-Kore-DE" sz="900" dirty="0"/>
              <a:t> </a:t>
            </a:r>
            <a:r>
              <a:rPr lang="de-DE" altLang="ko-Kore-DE" sz="900" dirty="0" err="1"/>
              <a:t>strongly</a:t>
            </a:r>
            <a:r>
              <a:rPr lang="de-DE" altLang="ko-Kore-DE" sz="900" dirty="0"/>
              <a:t> </a:t>
            </a:r>
            <a:r>
              <a:rPr lang="de-DE" altLang="ko-Kore-DE" sz="900" dirty="0" err="1"/>
              <a:t>convex</a:t>
            </a:r>
            <a:r>
              <a:rPr lang="de-DE" altLang="ko-Kore-DE" sz="900" dirty="0"/>
              <a:t> </a:t>
            </a:r>
            <a:r>
              <a:rPr lang="de-DE" altLang="ko-Kore-DE" sz="900" dirty="0" err="1"/>
              <a:t>stochastic</a:t>
            </a:r>
            <a:r>
              <a:rPr lang="de-DE" altLang="ko-Kore-DE" sz="900" dirty="0"/>
              <a:t> </a:t>
            </a:r>
            <a:r>
              <a:rPr lang="de-DE" altLang="ko-Kore-DE" sz="900" dirty="0" err="1"/>
              <a:t>optimization</a:t>
            </a:r>
            <a:r>
              <a:rPr lang="de-DE" altLang="ko-Kore-DE" sz="900" dirty="0"/>
              <a:t>,” [Online]. </a:t>
            </a:r>
            <a:r>
              <a:rPr lang="de-DE" altLang="ko-Kore-DE" sz="900" dirty="0" err="1"/>
              <a:t>Available</a:t>
            </a:r>
            <a:r>
              <a:rPr lang="de-DE" altLang="ko-Kore-DE" sz="900" dirty="0"/>
              <a:t>: </a:t>
            </a:r>
            <a:r>
              <a:rPr lang="de-DE" altLang="ko-Kore-DE" sz="900" i="1" dirty="0" err="1"/>
              <a:t>arxiv.org</a:t>
            </a:r>
            <a:r>
              <a:rPr lang="de-DE" altLang="ko-Kore-DE" sz="900" i="1" dirty="0"/>
              <a:t>/</a:t>
            </a:r>
            <a:r>
              <a:rPr lang="de-DE" altLang="ko-Kore-DE" sz="900" i="1" dirty="0" err="1"/>
              <a:t>pdf</a:t>
            </a:r>
            <a:r>
              <a:rPr lang="de-DE" altLang="ko-Kore-DE" sz="900" i="1" dirty="0"/>
              <a:t>/1109.564</a:t>
            </a:r>
            <a:r>
              <a:rPr lang="de-DE" altLang="ko-Kore-DE" sz="900" dirty="0"/>
              <a:t>7, </a:t>
            </a:r>
            <a:r>
              <a:rPr lang="de-DE" altLang="ko-Kore-DE" sz="900" dirty="0" err="1"/>
              <a:t>Dec</a:t>
            </a:r>
            <a:r>
              <a:rPr lang="de-DE" altLang="ko-Kore-DE" sz="900" dirty="0"/>
              <a:t>. 2012.</a:t>
            </a: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B39A167C-6AAA-8F49-B7B9-87D9A4C36078}"/>
              </a:ext>
            </a:extLst>
          </p:cNvPr>
          <p:cNvGrpSpPr/>
          <p:nvPr/>
        </p:nvGrpSpPr>
        <p:grpSpPr>
          <a:xfrm>
            <a:off x="2846257" y="2653879"/>
            <a:ext cx="847064" cy="926614"/>
            <a:chOff x="2551845" y="4187915"/>
            <a:chExt cx="847064" cy="926614"/>
          </a:xfrm>
        </p:grpSpPr>
        <p:pic>
          <p:nvPicPr>
            <p:cNvPr id="87" name="그림 86">
              <a:extLst>
                <a:ext uri="{FF2B5EF4-FFF2-40B4-BE49-F238E27FC236}">
                  <a16:creationId xmlns:a16="http://schemas.microsoft.com/office/drawing/2014/main" id="{5E59C640-EB9A-9A4E-837A-498BCBA873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2551845" y="4187915"/>
              <a:ext cx="847064" cy="926614"/>
            </a:xfrm>
            <a:prstGeom prst="rect">
              <a:avLst/>
            </a:prstGeom>
          </p:spPr>
        </p:pic>
        <p:pic>
          <p:nvPicPr>
            <p:cNvPr id="88" name="그림 87">
              <a:extLst>
                <a:ext uri="{FF2B5EF4-FFF2-40B4-BE49-F238E27FC236}">
                  <a16:creationId xmlns:a16="http://schemas.microsoft.com/office/drawing/2014/main" id="{031DF176-EE10-AD47-97FF-18E44110B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93209" y="4276893"/>
              <a:ext cx="386886" cy="322832"/>
            </a:xfrm>
            <a:prstGeom prst="rect">
              <a:avLst/>
            </a:prstGeom>
          </p:spPr>
        </p:pic>
      </p:grp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F3BF33D0-3ABE-C248-AE3F-AFE15BD24092}"/>
              </a:ext>
            </a:extLst>
          </p:cNvPr>
          <p:cNvGrpSpPr/>
          <p:nvPr/>
        </p:nvGrpSpPr>
        <p:grpSpPr>
          <a:xfrm>
            <a:off x="4062702" y="1128566"/>
            <a:ext cx="1018595" cy="926614"/>
            <a:chOff x="1763703" y="2698497"/>
            <a:chExt cx="1018595" cy="926614"/>
          </a:xfrm>
        </p:grpSpPr>
        <p:pic>
          <p:nvPicPr>
            <p:cNvPr id="85" name="그림 84">
              <a:extLst>
                <a:ext uri="{FF2B5EF4-FFF2-40B4-BE49-F238E27FC236}">
                  <a16:creationId xmlns:a16="http://schemas.microsoft.com/office/drawing/2014/main" id="{1F7E1F65-A38C-B146-AA6A-9C5814012D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12626"/>
            <a:stretch/>
          </p:blipFill>
          <p:spPr>
            <a:xfrm>
              <a:off x="1763703" y="2698497"/>
              <a:ext cx="1018595" cy="926614"/>
            </a:xfrm>
            <a:prstGeom prst="rect">
              <a:avLst/>
            </a:prstGeom>
          </p:spPr>
        </p:pic>
        <p:pic>
          <p:nvPicPr>
            <p:cNvPr id="86" name="그림 85">
              <a:extLst>
                <a:ext uri="{FF2B5EF4-FFF2-40B4-BE49-F238E27FC236}">
                  <a16:creationId xmlns:a16="http://schemas.microsoft.com/office/drawing/2014/main" id="{D18F8736-24B2-E443-AD0D-007A76425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54226" y="3055745"/>
              <a:ext cx="500609" cy="417727"/>
            </a:xfrm>
            <a:prstGeom prst="rect">
              <a:avLst/>
            </a:prstGeom>
          </p:spPr>
        </p:pic>
      </p:grp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5A420DEE-B0D3-064F-BDB7-433F78453957}"/>
              </a:ext>
            </a:extLst>
          </p:cNvPr>
          <p:cNvGrpSpPr/>
          <p:nvPr/>
        </p:nvGrpSpPr>
        <p:grpSpPr>
          <a:xfrm>
            <a:off x="4148468" y="2653879"/>
            <a:ext cx="847064" cy="926614"/>
            <a:chOff x="2809345" y="4187915"/>
            <a:chExt cx="847064" cy="926614"/>
          </a:xfrm>
        </p:grpSpPr>
        <p:pic>
          <p:nvPicPr>
            <p:cNvPr id="83" name="그림 82">
              <a:extLst>
                <a:ext uri="{FF2B5EF4-FFF2-40B4-BE49-F238E27FC236}">
                  <a16:creationId xmlns:a16="http://schemas.microsoft.com/office/drawing/2014/main" id="{65341094-7241-BF4B-B88E-000EA94924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2809345" y="4187915"/>
              <a:ext cx="847064" cy="926614"/>
            </a:xfrm>
            <a:prstGeom prst="rect">
              <a:avLst/>
            </a:prstGeom>
          </p:spPr>
        </p:pic>
        <p:pic>
          <p:nvPicPr>
            <p:cNvPr id="84" name="그림 83">
              <a:extLst>
                <a:ext uri="{FF2B5EF4-FFF2-40B4-BE49-F238E27FC236}">
                  <a16:creationId xmlns:a16="http://schemas.microsoft.com/office/drawing/2014/main" id="{9038CAA4-0D85-8F42-91B1-4FDC613CC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50709" y="4276893"/>
              <a:ext cx="386886" cy="322832"/>
            </a:xfrm>
            <a:prstGeom prst="rect">
              <a:avLst/>
            </a:prstGeom>
          </p:spPr>
        </p:pic>
      </p:grp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C24C70B0-E413-3549-A66D-D39E6E2012C4}"/>
              </a:ext>
            </a:extLst>
          </p:cNvPr>
          <p:cNvGrpSpPr/>
          <p:nvPr/>
        </p:nvGrpSpPr>
        <p:grpSpPr>
          <a:xfrm>
            <a:off x="5450679" y="2653879"/>
            <a:ext cx="847064" cy="926614"/>
            <a:chOff x="3066845" y="4187915"/>
            <a:chExt cx="847064" cy="926614"/>
          </a:xfrm>
        </p:grpSpPr>
        <p:pic>
          <p:nvPicPr>
            <p:cNvPr id="81" name="그림 80">
              <a:extLst>
                <a:ext uri="{FF2B5EF4-FFF2-40B4-BE49-F238E27FC236}">
                  <a16:creationId xmlns:a16="http://schemas.microsoft.com/office/drawing/2014/main" id="{85E871BE-4476-1945-955B-6BBE461997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3066845" y="4187915"/>
              <a:ext cx="847064" cy="926614"/>
            </a:xfrm>
            <a:prstGeom prst="rect">
              <a:avLst/>
            </a:prstGeom>
          </p:spPr>
        </p:pic>
        <p:pic>
          <p:nvPicPr>
            <p:cNvPr id="82" name="그림 81">
              <a:extLst>
                <a:ext uri="{FF2B5EF4-FFF2-40B4-BE49-F238E27FC236}">
                  <a16:creationId xmlns:a16="http://schemas.microsoft.com/office/drawing/2014/main" id="{E9512274-930A-FB4E-A4D0-B1E0D9869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08209" y="4276893"/>
              <a:ext cx="386886" cy="322832"/>
            </a:xfrm>
            <a:prstGeom prst="rect">
              <a:avLst/>
            </a:prstGeom>
          </p:spPr>
        </p:pic>
      </p:grpSp>
      <p:cxnSp>
        <p:nvCxnSpPr>
          <p:cNvPr id="72" name="꺾인 연결선[E] 71">
            <a:extLst>
              <a:ext uri="{FF2B5EF4-FFF2-40B4-BE49-F238E27FC236}">
                <a16:creationId xmlns:a16="http://schemas.microsoft.com/office/drawing/2014/main" id="{A04A83EA-2E3E-6449-BFE5-C07BE5BA9BD1}"/>
              </a:ext>
            </a:extLst>
          </p:cNvPr>
          <p:cNvCxnSpPr>
            <a:cxnSpLocks/>
            <a:stCxn id="85" idx="2"/>
            <a:endCxn id="87" idx="0"/>
          </p:cNvCxnSpPr>
          <p:nvPr/>
        </p:nvCxnSpPr>
        <p:spPr bwMode="auto">
          <a:xfrm rot="5400000">
            <a:off x="3621546" y="1703424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73521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3" name="꺾인 연결선[E] 72">
            <a:extLst>
              <a:ext uri="{FF2B5EF4-FFF2-40B4-BE49-F238E27FC236}">
                <a16:creationId xmlns:a16="http://schemas.microsoft.com/office/drawing/2014/main" id="{2B39F7EC-A123-4D4D-B938-224FBDE4FDA0}"/>
              </a:ext>
            </a:extLst>
          </p:cNvPr>
          <p:cNvCxnSpPr>
            <a:cxnSpLocks/>
            <a:stCxn id="85" idx="2"/>
            <a:endCxn id="81" idx="0"/>
          </p:cNvCxnSpPr>
          <p:nvPr/>
        </p:nvCxnSpPr>
        <p:spPr bwMode="auto">
          <a:xfrm rot="16200000" flipH="1">
            <a:off x="4923756" y="1703423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73521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55F1C858-3B13-E54B-B018-06D72594ADA9}"/>
              </a:ext>
            </a:extLst>
          </p:cNvPr>
          <p:cNvCxnSpPr>
            <a:cxnSpLocks/>
            <a:stCxn id="85" idx="2"/>
            <a:endCxn id="83" idx="0"/>
          </p:cNvCxnSpPr>
          <p:nvPr/>
        </p:nvCxnSpPr>
        <p:spPr bwMode="auto">
          <a:xfrm>
            <a:off x="4572000" y="2055180"/>
            <a:ext cx="0" cy="59869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73521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20D98B26-1EE7-6D4B-BFF1-823B7DD8BF98}"/>
              </a:ext>
            </a:extLst>
          </p:cNvPr>
          <p:cNvSpPr txBox="1"/>
          <p:nvPr/>
        </p:nvSpPr>
        <p:spPr>
          <a:xfrm>
            <a:off x="4995532" y="1533416"/>
            <a:ext cx="11544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lobal Model</a:t>
            </a:r>
            <a:endParaRPr kumimoji="1" lang="ko-Kore-DE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99AA6A1-66C2-5E43-9B8D-974F8C9468B5}"/>
              </a:ext>
            </a:extLst>
          </p:cNvPr>
          <p:cNvSpPr txBox="1"/>
          <p:nvPr/>
        </p:nvSpPr>
        <p:spPr>
          <a:xfrm>
            <a:off x="6150015" y="2765773"/>
            <a:ext cx="10759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cal Model</a:t>
            </a:r>
            <a:endParaRPr kumimoji="1" lang="ko-Kore-DE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A3C1027E-2228-5142-A400-281BD5E6A6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8254" y="3214056"/>
            <a:ext cx="302262" cy="302262"/>
          </a:xfrm>
          <a:prstGeom prst="rect">
            <a:avLst/>
          </a:prstGeom>
        </p:spPr>
      </p:pic>
      <p:pic>
        <p:nvPicPr>
          <p:cNvPr id="78" name="그림 77">
            <a:extLst>
              <a:ext uri="{FF2B5EF4-FFF2-40B4-BE49-F238E27FC236}">
                <a16:creationId xmlns:a16="http://schemas.microsoft.com/office/drawing/2014/main" id="{7A06AAA7-F094-334D-805D-38D1FF3B55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9842" y="3214056"/>
            <a:ext cx="302262" cy="302262"/>
          </a:xfrm>
          <a:prstGeom prst="rect">
            <a:avLst/>
          </a:prstGeom>
        </p:spPr>
      </p:pic>
      <p:pic>
        <p:nvPicPr>
          <p:cNvPr id="79" name="그림 78">
            <a:extLst>
              <a:ext uri="{FF2B5EF4-FFF2-40B4-BE49-F238E27FC236}">
                <a16:creationId xmlns:a16="http://schemas.microsoft.com/office/drawing/2014/main" id="{9F1578B8-BF14-A140-89A8-68332670E7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1431" y="3214056"/>
            <a:ext cx="302262" cy="30226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E0CD85AA-2E8F-0843-A703-FA30D97DC210}"/>
                  </a:ext>
                </a:extLst>
              </p:cNvPr>
              <p:cNvSpPr txBox="1"/>
              <p:nvPr/>
            </p:nvSpPr>
            <p:spPr>
              <a:xfrm>
                <a:off x="6123014" y="3585512"/>
                <a:ext cx="74699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ko-Kore-DE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ata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kumimoji="1" lang="en-US" altLang="ko-Kore-DE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𝒟</m:t>
                        </m:r>
                      </m:e>
                      <m:sub>
                        <m:r>
                          <a:rPr kumimoji="1" lang="en-US" altLang="ko-Kore-DE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</m:sub>
                    </m:sSub>
                  </m:oMath>
                </a14:m>
                <a:endParaRPr kumimoji="1" lang="ko-Kore-DE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E0CD85AA-2E8F-0843-A703-FA30D97DC2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23014" y="3585512"/>
                <a:ext cx="746999" cy="276999"/>
              </a:xfrm>
              <a:prstGeom prst="rect">
                <a:avLst/>
              </a:prstGeom>
              <a:blipFill>
                <a:blip r:embed="rId8"/>
                <a:stretch>
                  <a:fillRect t="-4348" b="-13043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직사각형 22">
            <a:extLst>
              <a:ext uri="{FF2B5EF4-FFF2-40B4-BE49-F238E27FC236}">
                <a16:creationId xmlns:a16="http://schemas.microsoft.com/office/drawing/2014/main" id="{1537D4C8-559F-7F49-8A31-1B82E0CC051B}"/>
              </a:ext>
            </a:extLst>
          </p:cNvPr>
          <p:cNvSpPr/>
          <p:nvPr/>
        </p:nvSpPr>
        <p:spPr bwMode="auto">
          <a:xfrm>
            <a:off x="2618685" y="2038825"/>
            <a:ext cx="4587726" cy="1892880"/>
          </a:xfrm>
          <a:prstGeom prst="rect">
            <a:avLst/>
          </a:prstGeom>
          <a:solidFill>
            <a:schemeClr val="bg1">
              <a:alpha val="5996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ore-DE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95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B97C907-0065-E54B-8935-0751A6FB2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7" y="820676"/>
            <a:ext cx="8061325" cy="282000"/>
          </a:xfrm>
        </p:spPr>
        <p:txBody>
          <a:bodyPr/>
          <a:lstStyle/>
          <a:p>
            <a:r>
              <a:rPr kumimoji="1" lang="en-US" altLang="ko-Kore-DE" dirty="0"/>
              <a:t>Performance Metrics</a:t>
            </a:r>
            <a:r>
              <a:rPr kumimoji="1" lang="en-US" altLang="ko-KR" dirty="0"/>
              <a:t>:</a:t>
            </a:r>
            <a:r>
              <a:rPr kumimoji="1" lang="ko-KR" altLang="en-US" dirty="0"/>
              <a:t> </a:t>
            </a:r>
            <a:r>
              <a:rPr kumimoji="1" lang="en-US" altLang="ko-KR" dirty="0"/>
              <a:t>Transmission Rate</a:t>
            </a:r>
            <a:endParaRPr kumimoji="1" lang="ko-Kore-DE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/>
              <p:nvPr/>
            </p:nvSpPr>
            <p:spPr>
              <a:xfrm>
                <a:off x="2491261" y="4504279"/>
                <a:ext cx="4393290" cy="23537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l"/>
                <a:r>
                  <a:rPr kumimoji="1" lang="en-US" altLang="ko-Kore-DE" sz="1400" b="1" dirty="0"/>
                  <a:t>Transmission rate </a:t>
                </a:r>
                <a:r>
                  <a:rPr kumimoji="1" lang="en-US" altLang="ko-Kore-DE" sz="1400" dirty="0"/>
                  <a:t>is defined by the </a:t>
                </a:r>
                <a:r>
                  <a:rPr kumimoji="1" lang="en-US" altLang="ko-Kore-DE" sz="1400" u="sng" dirty="0"/>
                  <a:t>differential entropy</a:t>
                </a:r>
                <a:r>
                  <a:rPr kumimoji="1" lang="en-US" altLang="ko-Kore-DE" sz="1400" dirty="0"/>
                  <a:t> of a noisy gradient:</a:t>
                </a:r>
              </a:p>
              <a:p>
                <a:pPr algn="l"/>
                <a:endParaRPr kumimoji="1" lang="en-US" altLang="ko-Kore-DE" sz="1400" dirty="0"/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ko-Kore-DE" sz="1400" b="1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sSubPr>
                        <m:e>
                          <m:r>
                            <a:rPr kumimoji="1" lang="en-US" altLang="ko-Kore-DE" sz="1400" b="0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𝑅</m:t>
                          </m:r>
                        </m:e>
                        <m:sub>
                          <m:r>
                            <a:rPr kumimoji="1" lang="en-US" altLang="ko-Kore-DE" sz="1400" b="0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𝑡𝑟</m:t>
                          </m:r>
                          <m:r>
                            <a:rPr kumimoji="1" lang="en-US" altLang="ko-Kore-DE" sz="1400" b="0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,</m:t>
                          </m:r>
                          <m:r>
                            <a:rPr kumimoji="1" lang="en-US" altLang="ko-Kore-DE" sz="1400" b="0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𝑘</m:t>
                          </m:r>
                        </m:sub>
                      </m:sSub>
                      <m:r>
                        <a:rPr kumimoji="1" lang="en-US" altLang="ko-Kore-DE" sz="1400" b="1" i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libri" panose="020F0502020204030204" pitchFamily="34" charset="0"/>
                        </a:rPr>
                        <m:t>=</m:t>
                      </m:r>
                      <m:r>
                        <a:rPr kumimoji="1" lang="en-US" altLang="ko-Kore-DE" sz="1400" b="0" i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libri" panose="020F0502020204030204" pitchFamily="34" charset="0"/>
                        </a:rPr>
                        <m:t>h</m:t>
                      </m:r>
                      <m:d>
                        <m:dPr>
                          <m:ctrlPr>
                            <a:rPr kumimoji="1" lang="en-US" altLang="ko-Kore-DE" sz="1400" b="1" i="1" dirty="0" smtClean="0">
                              <a:solidFill>
                                <a:schemeClr val="tx1">
                                  <a:lumMod val="85000"/>
                                  <a:lumOff val="1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kumimoji="1" lang="en-US" altLang="ko-Kore-DE" sz="1400" i="1" smtClean="0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acc>
                                <m:accPr>
                                  <m:chr m:val="̃"/>
                                  <m:ctrlPr>
                                    <a:rPr kumimoji="1" lang="en-US" altLang="ko-Kore-DE" sz="1400" i="1">
                                      <a:solidFill>
                                        <a:srgbClr val="E053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kumimoji="1" lang="en-US" altLang="ko-Kore-DE" sz="1400" b="1" i="1">
                                      <a:solidFill>
                                        <a:srgbClr val="E053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𝒈</m:t>
                                  </m:r>
                                </m:e>
                              </m:acc>
                            </m:e>
                            <m:sub>
                              <m:r>
                                <a:rPr kumimoji="1" lang="en-US" altLang="ko-Kore-DE" sz="1400" i="1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kumimoji="1" lang="en-US" altLang="ko-Kore-DE" sz="1400" i="1">
                                      <a:solidFill>
                                        <a:srgbClr val="E053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kumimoji="1" lang="en-US" altLang="ko-Kore-DE" sz="1400" i="1">
                                      <a:solidFill>
                                        <a:srgbClr val="E053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bSup>
                        </m:e>
                      </m:d>
                      <m:r>
                        <a:rPr kumimoji="1" lang="en-US" altLang="ko-Kore-DE" sz="14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1" lang="en-US" altLang="ko-Kore-DE" sz="1400" b="1" dirty="0"/>
              </a:p>
              <a:p>
                <a:pPr algn="l"/>
                <a:endParaRPr kumimoji="1" lang="en-US" altLang="ko-Kore-DE" sz="1400" b="1" dirty="0"/>
              </a:p>
              <a:p>
                <a:pPr marL="171450" indent="-171450" algn="l">
                  <a:buFont typeface="Arial" panose="020B0604020202020204" pitchFamily="34" charset="0"/>
                  <a:buChar char="•"/>
                </a:pPr>
                <a:r>
                  <a:rPr kumimoji="1" lang="en-US" altLang="ko-Kore-DE" sz="1400" dirty="0"/>
                  <a:t>Lossless communication is assumed</a:t>
                </a:r>
                <a:r>
                  <a:rPr kumimoji="1" lang="en-US" altLang="ko-KR" sz="1400" dirty="0"/>
                  <a:t>.</a:t>
                </a:r>
              </a:p>
              <a:p>
                <a:pPr marL="171450" indent="-171450" algn="l">
                  <a:buFont typeface="Arial" panose="020B0604020202020204" pitchFamily="34" charset="0"/>
                  <a:buChar char="•"/>
                </a:pPr>
                <a:r>
                  <a:rPr kumimoji="1" lang="en-US" altLang="ko-Kore-DE" sz="1400" dirty="0"/>
                  <a:t>The transmission rate is associated with only the uplink.</a:t>
                </a:r>
                <a:endParaRPr kumimoji="1" lang="ko-Kore-DE" altLang="en-US" sz="1400" dirty="0"/>
              </a:p>
              <a:p>
                <a:pPr algn="l"/>
                <a:endParaRPr kumimoji="1" lang="en-US" altLang="ko-Kore-DE" sz="1400" b="1" dirty="0"/>
              </a:p>
              <a:p>
                <a:r>
                  <a:rPr kumimoji="1" lang="en-US" altLang="ko-Kore-DE" sz="1400" dirty="0"/>
                  <a:t> </a:t>
                </a:r>
              </a:p>
            </p:txBody>
          </p:sp>
        </mc:Choice>
        <mc:Fallback xmlns="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2124F0C7-A97C-D84E-842D-0DC1919592C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91261" y="4504279"/>
                <a:ext cx="4393290" cy="2353721"/>
              </a:xfrm>
              <a:prstGeom prst="rect">
                <a:avLst/>
              </a:prstGeom>
              <a:blipFill>
                <a:blip r:embed="rId3"/>
                <a:stretch>
                  <a:fillRect l="-578" t="-538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그룹 4">
            <a:extLst>
              <a:ext uri="{FF2B5EF4-FFF2-40B4-BE49-F238E27FC236}">
                <a16:creationId xmlns:a16="http://schemas.microsoft.com/office/drawing/2014/main" id="{E510333E-FF4A-8C4B-BBEA-3DD602D14C05}"/>
              </a:ext>
            </a:extLst>
          </p:cNvPr>
          <p:cNvGrpSpPr/>
          <p:nvPr/>
        </p:nvGrpSpPr>
        <p:grpSpPr>
          <a:xfrm>
            <a:off x="2906378" y="2962902"/>
            <a:ext cx="847064" cy="926614"/>
            <a:chOff x="2551845" y="4187915"/>
            <a:chExt cx="847064" cy="926614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9374206B-00D3-FF4E-BB9C-AE16A8E6C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2551845" y="4187915"/>
              <a:ext cx="847064" cy="926614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A17D99B6-B72F-934B-9880-422105588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93209" y="4276893"/>
              <a:ext cx="386886" cy="322832"/>
            </a:xfrm>
            <a:prstGeom prst="rect">
              <a:avLst/>
            </a:prstGeom>
          </p:spPr>
        </p:pic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78BAB907-6929-3549-8F2E-33EC67A08394}"/>
              </a:ext>
            </a:extLst>
          </p:cNvPr>
          <p:cNvGrpSpPr/>
          <p:nvPr/>
        </p:nvGrpSpPr>
        <p:grpSpPr>
          <a:xfrm>
            <a:off x="4122823" y="1437589"/>
            <a:ext cx="1018595" cy="926614"/>
            <a:chOff x="1763703" y="2698497"/>
            <a:chExt cx="1018595" cy="926614"/>
          </a:xfrm>
        </p:grpSpPr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32A00D5B-BA78-C748-96BE-49961521C3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12626"/>
            <a:stretch/>
          </p:blipFill>
          <p:spPr>
            <a:xfrm>
              <a:off x="1763703" y="2698497"/>
              <a:ext cx="1018595" cy="926614"/>
            </a:xfrm>
            <a:prstGeom prst="rect">
              <a:avLst/>
            </a:prstGeom>
          </p:spPr>
        </p:pic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60D8F43A-4E37-E74C-9C68-82CC3C254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54226" y="3055745"/>
              <a:ext cx="500609" cy="417727"/>
            </a:xfrm>
            <a:prstGeom prst="rect">
              <a:avLst/>
            </a:prstGeom>
          </p:spPr>
        </p:pic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330F5A6-FCEF-8E46-B76E-5B6914D9A8D9}"/>
              </a:ext>
            </a:extLst>
          </p:cNvPr>
          <p:cNvGrpSpPr/>
          <p:nvPr/>
        </p:nvGrpSpPr>
        <p:grpSpPr>
          <a:xfrm>
            <a:off x="4208589" y="2962902"/>
            <a:ext cx="847064" cy="926614"/>
            <a:chOff x="2809345" y="4187915"/>
            <a:chExt cx="847064" cy="926614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6B142503-FEE6-0D41-AC14-290396FE53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2809345" y="4187915"/>
              <a:ext cx="847064" cy="926614"/>
            </a:xfrm>
            <a:prstGeom prst="rect">
              <a:avLst/>
            </a:prstGeom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A6CDB5F9-F5B3-EB44-BFA1-18411A516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50709" y="4276893"/>
              <a:ext cx="386886" cy="322832"/>
            </a:xfrm>
            <a:prstGeom prst="rect">
              <a:avLst/>
            </a:prstGeom>
          </p:spPr>
        </p:pic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BD04DF39-E155-1A45-9E20-2BDCEB22243A}"/>
              </a:ext>
            </a:extLst>
          </p:cNvPr>
          <p:cNvGrpSpPr/>
          <p:nvPr/>
        </p:nvGrpSpPr>
        <p:grpSpPr>
          <a:xfrm>
            <a:off x="5510800" y="2962902"/>
            <a:ext cx="847064" cy="926614"/>
            <a:chOff x="3066845" y="4187915"/>
            <a:chExt cx="847064" cy="926614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337491E9-7BEA-8446-A758-A0CF9C390C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48" t="15542" r="17123" b="14197"/>
            <a:stretch/>
          </p:blipFill>
          <p:spPr>
            <a:xfrm>
              <a:off x="3066845" y="4187915"/>
              <a:ext cx="847064" cy="926614"/>
            </a:xfrm>
            <a:prstGeom prst="rect">
              <a:avLst/>
            </a:prstGeom>
          </p:spPr>
        </p:pic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61302D8E-CFBC-EE42-B29C-462967147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08209" y="4276893"/>
              <a:ext cx="386886" cy="322832"/>
            </a:xfrm>
            <a:prstGeom prst="rect">
              <a:avLst/>
            </a:prstGeom>
          </p:spPr>
        </p:pic>
      </p:grpSp>
      <p:cxnSp>
        <p:nvCxnSpPr>
          <p:cNvPr id="17" name="꺾인 연결선[E] 16">
            <a:extLst>
              <a:ext uri="{FF2B5EF4-FFF2-40B4-BE49-F238E27FC236}">
                <a16:creationId xmlns:a16="http://schemas.microsoft.com/office/drawing/2014/main" id="{2BFE9D56-1621-844D-9660-09D68AB87DEF}"/>
              </a:ext>
            </a:extLst>
          </p:cNvPr>
          <p:cNvCxnSpPr>
            <a:cxnSpLocks/>
            <a:stCxn id="9" idx="2"/>
            <a:endCxn id="6" idx="0"/>
          </p:cNvCxnSpPr>
          <p:nvPr/>
        </p:nvCxnSpPr>
        <p:spPr bwMode="auto">
          <a:xfrm rot="5400000">
            <a:off x="3681667" y="2012447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32216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꺾인 연결선[E] 18">
            <a:extLst>
              <a:ext uri="{FF2B5EF4-FFF2-40B4-BE49-F238E27FC236}">
                <a16:creationId xmlns:a16="http://schemas.microsoft.com/office/drawing/2014/main" id="{20A5D222-09AB-FA4A-84AD-CD8D345A5E04}"/>
              </a:ext>
            </a:extLst>
          </p:cNvPr>
          <p:cNvCxnSpPr>
            <a:cxnSpLocks/>
            <a:stCxn id="9" idx="2"/>
            <a:endCxn id="15" idx="0"/>
          </p:cNvCxnSpPr>
          <p:nvPr/>
        </p:nvCxnSpPr>
        <p:spPr bwMode="auto">
          <a:xfrm rot="16200000" flipH="1">
            <a:off x="4983877" y="2012446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32216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619E57A4-A5C0-964B-8F0E-825B23687F48}"/>
              </a:ext>
            </a:extLst>
          </p:cNvPr>
          <p:cNvCxnSpPr>
            <a:cxnSpLocks/>
            <a:stCxn id="9" idx="2"/>
            <a:endCxn id="12" idx="0"/>
          </p:cNvCxnSpPr>
          <p:nvPr/>
        </p:nvCxnSpPr>
        <p:spPr bwMode="auto">
          <a:xfrm>
            <a:off x="4632121" y="2364203"/>
            <a:ext cx="0" cy="59869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32216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615F372-778D-3F4D-84D8-E7959E90628E}"/>
              </a:ext>
            </a:extLst>
          </p:cNvPr>
          <p:cNvSpPr txBox="1"/>
          <p:nvPr/>
        </p:nvSpPr>
        <p:spPr>
          <a:xfrm>
            <a:off x="5055653" y="1842439"/>
            <a:ext cx="11544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lobal Model</a:t>
            </a:r>
            <a:endParaRPr kumimoji="1" lang="ko-Kore-DE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5AB453-7DEF-B54E-A83C-BA8F9082DAB6}"/>
              </a:ext>
            </a:extLst>
          </p:cNvPr>
          <p:cNvSpPr txBox="1"/>
          <p:nvPr/>
        </p:nvSpPr>
        <p:spPr>
          <a:xfrm>
            <a:off x="6210136" y="3074796"/>
            <a:ext cx="10759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cal Model</a:t>
            </a:r>
            <a:endParaRPr kumimoji="1" lang="ko-Kore-DE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323D2B45-DCA0-4F42-B98E-CBFB92729B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8375" y="3523079"/>
            <a:ext cx="302262" cy="302262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43B83FBD-2CAC-D547-B35C-E5784A967C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99963" y="3523079"/>
            <a:ext cx="302262" cy="302262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BB9E4F06-0286-B745-B209-E9DD6521DE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1552" y="3523079"/>
            <a:ext cx="302262" cy="30226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7E6F979-CB3A-1A45-B139-BE55BA110444}"/>
                  </a:ext>
                </a:extLst>
              </p:cNvPr>
              <p:cNvSpPr txBox="1"/>
              <p:nvPr/>
            </p:nvSpPr>
            <p:spPr>
              <a:xfrm>
                <a:off x="6183135" y="3894535"/>
                <a:ext cx="74699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ko-Kore-DE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ata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ko-Kore-DE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kumimoji="1" lang="en-US" altLang="ko-Kore-DE" b="1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𝒟</m:t>
                        </m:r>
                      </m:e>
                      <m:sub>
                        <m:r>
                          <a:rPr kumimoji="1" lang="en-US" altLang="ko-Kore-DE" i="1" dirty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𝑘</m:t>
                        </m:r>
                      </m:sub>
                    </m:sSub>
                  </m:oMath>
                </a14:m>
                <a:endParaRPr kumimoji="1" lang="ko-Kore-DE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7E6F979-CB3A-1A45-B139-BE55BA1104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3135" y="3894535"/>
                <a:ext cx="746999" cy="276999"/>
              </a:xfrm>
              <a:prstGeom prst="rect">
                <a:avLst/>
              </a:prstGeom>
              <a:blipFill>
                <a:blip r:embed="rId8"/>
                <a:stretch>
                  <a:fillRect t="-4348" b="-13043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직사각형 26">
            <a:extLst>
              <a:ext uri="{FF2B5EF4-FFF2-40B4-BE49-F238E27FC236}">
                <a16:creationId xmlns:a16="http://schemas.microsoft.com/office/drawing/2014/main" id="{CAFEFEA2-76A1-6A4D-9EAB-4E2BE8B1B006}"/>
              </a:ext>
            </a:extLst>
          </p:cNvPr>
          <p:cNvSpPr/>
          <p:nvPr/>
        </p:nvSpPr>
        <p:spPr bwMode="auto">
          <a:xfrm>
            <a:off x="2678806" y="2962900"/>
            <a:ext cx="4587726" cy="1277827"/>
          </a:xfrm>
          <a:prstGeom prst="rect">
            <a:avLst/>
          </a:prstGeom>
          <a:solidFill>
            <a:schemeClr val="bg1">
              <a:alpha val="5996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ore-DE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E6434242-7582-D342-A5B2-966ED80135DE}"/>
              </a:ext>
            </a:extLst>
          </p:cNvPr>
          <p:cNvSpPr/>
          <p:nvPr/>
        </p:nvSpPr>
        <p:spPr bwMode="auto">
          <a:xfrm>
            <a:off x="3424005" y="1196755"/>
            <a:ext cx="3263295" cy="1181615"/>
          </a:xfrm>
          <a:prstGeom prst="rect">
            <a:avLst/>
          </a:prstGeom>
          <a:solidFill>
            <a:schemeClr val="bg1">
              <a:alpha val="5996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ore-DE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6F243446-490B-1142-81B5-094839488449}"/>
                  </a:ext>
                </a:extLst>
              </p:cNvPr>
              <p:cNvSpPr/>
              <p:nvPr/>
            </p:nvSpPr>
            <p:spPr>
              <a:xfrm>
                <a:off x="5413632" y="2254241"/>
                <a:ext cx="484235" cy="3260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̃"/>
                              <m:ctrlPr>
                                <a:rPr kumimoji="1" lang="en-US" altLang="ko-Kore-DE" i="1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kumimoji="1" lang="en-US" altLang="ko-Kore-DE" b="1" i="1">
                                  <a:solidFill>
                                    <a:srgbClr val="E053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𝒈</m:t>
                              </m:r>
                            </m:e>
                          </m:acc>
                        </m:e>
                        <m:sub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ko-Kore-DE" i="1">
                              <a:solidFill>
                                <a:srgbClr val="E053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</m:oMath>
                  </m:oMathPara>
                </a14:m>
                <a:endParaRPr lang="ko-Kore-DE" altLang="en-US" dirty="0"/>
              </a:p>
            </p:txBody>
          </p:sp>
        </mc:Choice>
        <mc:Fallback xmlns=""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6F243446-490B-1142-81B5-09483948844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3632" y="2254241"/>
                <a:ext cx="484235" cy="32605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꺾인 연결선[E] 29">
            <a:extLst>
              <a:ext uri="{FF2B5EF4-FFF2-40B4-BE49-F238E27FC236}">
                <a16:creationId xmlns:a16="http://schemas.microsoft.com/office/drawing/2014/main" id="{3A96A3C8-43CD-6640-9AA3-45CA160C0828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5039662" y="1964212"/>
            <a:ext cx="598699" cy="1302211"/>
          </a:xfrm>
          <a:prstGeom prst="bentConnector3">
            <a:avLst/>
          </a:prstGeom>
          <a:solidFill>
            <a:schemeClr val="tx2"/>
          </a:solidFill>
          <a:ln w="19050" cap="flat" cmpd="sng" algn="ctr">
            <a:solidFill>
              <a:schemeClr val="accent1">
                <a:alpha val="73521"/>
              </a:schemeClr>
            </a:solidFill>
            <a:prstDash val="solid"/>
            <a:round/>
            <a:headEnd type="triangle" w="med" len="med"/>
            <a:tailEnd type="none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7EA0DB8-B60D-A44B-B17A-899A5069AD6F}"/>
              </a:ext>
            </a:extLst>
          </p:cNvPr>
          <p:cNvSpPr txBox="1"/>
          <p:nvPr/>
        </p:nvSpPr>
        <p:spPr>
          <a:xfrm>
            <a:off x="2068531" y="5004984"/>
            <a:ext cx="5037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kumimoji="1" lang="ko-Kore-DE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621685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15354EC-9A7E-A146-B969-50564A9D2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7" y="801905"/>
            <a:ext cx="4332115" cy="294953"/>
          </a:xfrm>
        </p:spPr>
        <p:txBody>
          <a:bodyPr/>
          <a:lstStyle/>
          <a:p>
            <a:r>
              <a:rPr kumimoji="1" lang="en-US" altLang="ko-Kore-DE" sz="2000" dirty="0"/>
              <a:t>Theoretical Analysis: Privacy</a:t>
            </a:r>
            <a:endParaRPr kumimoji="1" lang="ko-Kore-DE" alt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/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ko-Kore-DE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ser </a:t>
                </a:r>
                <a14:m>
                  <m:oMath xmlns:m="http://schemas.openxmlformats.org/officeDocument/2006/math">
                    <m:r>
                      <a:rPr kumimoji="1" lang="en-US" altLang="ko-KR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kumimoji="1" lang="ko-Kore-DE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A2A26A1-C2D3-8441-81E8-76F4EEF6FF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7368" y="9071777"/>
                <a:ext cx="602729" cy="276999"/>
              </a:xfrm>
              <a:prstGeom prst="rect">
                <a:avLst/>
              </a:prstGeom>
              <a:blipFill>
                <a:blip r:embed="rId6"/>
                <a:stretch>
                  <a:fillRect b="-13043"/>
                </a:stretch>
              </a:blipFill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그룹 9">
            <a:extLst>
              <a:ext uri="{FF2B5EF4-FFF2-40B4-BE49-F238E27FC236}">
                <a16:creationId xmlns:a16="http://schemas.microsoft.com/office/drawing/2014/main" id="{AA7A8BDE-C423-6548-AB15-F3654FF6C527}"/>
              </a:ext>
            </a:extLst>
          </p:cNvPr>
          <p:cNvGrpSpPr/>
          <p:nvPr/>
        </p:nvGrpSpPr>
        <p:grpSpPr>
          <a:xfrm>
            <a:off x="1091559" y="2789046"/>
            <a:ext cx="6728538" cy="2049985"/>
            <a:chOff x="762722" y="2955271"/>
            <a:chExt cx="6728538" cy="2049985"/>
          </a:xfrm>
        </p:grpSpPr>
        <p:sp>
          <p:nvSpPr>
            <p:cNvPr id="3" name="타원 2">
              <a:extLst>
                <a:ext uri="{FF2B5EF4-FFF2-40B4-BE49-F238E27FC236}">
                  <a16:creationId xmlns:a16="http://schemas.microsoft.com/office/drawing/2014/main" id="{627B58D1-6731-1F4F-A59D-25D605987C6A}"/>
                </a:ext>
              </a:extLst>
            </p:cNvPr>
            <p:cNvSpPr/>
            <p:nvPr/>
          </p:nvSpPr>
          <p:spPr bwMode="auto">
            <a:xfrm>
              <a:off x="1380871" y="4085455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89A45B63-9AF5-1349-8D46-23E05DA6D786}"/>
                </a:ext>
              </a:extLst>
            </p:cNvPr>
            <p:cNvGrpSpPr/>
            <p:nvPr/>
          </p:nvGrpSpPr>
          <p:grpSpPr>
            <a:xfrm>
              <a:off x="6635128" y="3441403"/>
              <a:ext cx="856132" cy="960628"/>
              <a:chOff x="5561320" y="2150817"/>
              <a:chExt cx="856132" cy="960628"/>
            </a:xfrm>
          </p:grpSpPr>
          <p:pic>
            <p:nvPicPr>
              <p:cNvPr id="82" name="그림 81">
                <a:extLst>
                  <a:ext uri="{FF2B5EF4-FFF2-40B4-BE49-F238E27FC236}">
                    <a16:creationId xmlns:a16="http://schemas.microsoft.com/office/drawing/2014/main" id="{9FDAE9AF-9D5D-7449-B88E-46B9353C26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72949" y="2478292"/>
                <a:ext cx="633153" cy="633153"/>
              </a:xfrm>
              <a:prstGeom prst="rect">
                <a:avLst/>
              </a:prstGeom>
            </p:spPr>
          </p:pic>
          <p:sp>
            <p:nvSpPr>
              <p:cNvPr id="21" name="직사각형 20">
                <a:extLst>
                  <a:ext uri="{FF2B5EF4-FFF2-40B4-BE49-F238E27FC236}">
                    <a16:creationId xmlns:a16="http://schemas.microsoft.com/office/drawing/2014/main" id="{D132B7D6-A6DA-1444-90B2-F102CD9B006C}"/>
                  </a:ext>
                </a:extLst>
              </p:cNvPr>
              <p:cNvSpPr/>
              <p:nvPr/>
            </p:nvSpPr>
            <p:spPr>
              <a:xfrm>
                <a:off x="5561320" y="2150817"/>
                <a:ext cx="856132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kumimoji="1" lang="en-US" altLang="ko-KR" b="1" dirty="0"/>
                  <a:t>PRIVACY</a:t>
                </a:r>
              </a:p>
            </p:txBody>
          </p:sp>
        </p:grp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CD0D0AB4-78E0-1247-BF1D-AB3357C0E62B}"/>
                </a:ext>
              </a:extLst>
            </p:cNvPr>
            <p:cNvSpPr/>
            <p:nvPr/>
          </p:nvSpPr>
          <p:spPr bwMode="auto">
            <a:xfrm>
              <a:off x="5363601" y="3114466"/>
              <a:ext cx="314534" cy="314534"/>
            </a:xfrm>
            <a:prstGeom prst="ellipse">
              <a:avLst/>
            </a:prstGeom>
            <a:solidFill>
              <a:schemeClr val="accent2">
                <a:alpha val="3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ore-DE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직사각형 6">
                  <a:extLst>
                    <a:ext uri="{FF2B5EF4-FFF2-40B4-BE49-F238E27FC236}">
                      <a16:creationId xmlns:a16="http://schemas.microsoft.com/office/drawing/2014/main" id="{7F906643-B55C-DB4E-9223-5D914234AD0C}"/>
                    </a:ext>
                  </a:extLst>
                </p:cNvPr>
                <p:cNvSpPr/>
                <p:nvPr/>
              </p:nvSpPr>
              <p:spPr>
                <a:xfrm>
                  <a:off x="762722" y="2955271"/>
                  <a:ext cx="6124966" cy="204998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r>
                        <a:rPr kumimoji="1" lang="en-US" altLang="ko-KR" sz="1400" b="1" i="1" smtClean="0">
                          <a:latin typeface="Cambria Math" panose="02040503050406030204" pitchFamily="18" charset="0"/>
                        </a:rPr>
                        <m:t>𝑻𝒉𝒆𝒐𝒓𝒆𝒎</m:t>
                      </m:r>
                      <m:r>
                        <a:rPr kumimoji="1" lang="en-US" altLang="ko-KR" sz="1400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R" sz="1400" b="1" i="1" smtClean="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. </m:t>
                      </m:r>
                    </m:oMath>
                  </a14:m>
                  <a:r>
                    <a:rPr kumimoji="1" lang="en-US" altLang="ko-KR" sz="1400" i="1" dirty="0">
                      <a:latin typeface="Cambria Math" panose="02040503050406030204" pitchFamily="18" charset="0"/>
                    </a:rPr>
                    <a:t> F</a:t>
                  </a:r>
                  <a14:m>
                    <m:oMath xmlns:m="http://schemas.openxmlformats.org/officeDocument/2006/math"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𝑜𝑟</m:t>
                      </m:r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𝜖</m:t>
                          </m:r>
                        </m:e>
                        <m:sub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&gt;2</m:t>
                      </m:r>
                      <m:r>
                        <m:rPr>
                          <m:sty m:val="p"/>
                        </m:rPr>
                        <a:rPr kumimoji="1" lang="en-US" altLang="ko-KR" sz="1400" i="1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d>
                      <m:r>
                        <m:rPr>
                          <m:sty m:val="p"/>
                        </m:rPr>
                        <a:rPr kumimoji="1" lang="en-US" altLang="ko-KR" sz="1400" i="1">
                          <a:latin typeface="Cambria Math" panose="02040503050406030204" pitchFamily="18" charset="0"/>
                        </a:rPr>
                        <m:t>max</m:t>
                      </m:r>
                      <m:d>
                        <m:dPr>
                          <m:begChr m:val="{"/>
                          <m:endChr m:val="}"/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sSubSup>
                                <m:sSubSupPr>
                                  <m:ctrlPr>
                                    <a:rPr kumimoji="1" lang="en-US" altLang="ko-KR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R" sz="1400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b>
                                  <m:r>
                                    <a:rPr kumimoji="1" lang="en-US" altLang="ko-KR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r>
                                    <a:rPr kumimoji="1" lang="en-US" altLang="ko-KR" sz="14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  <m:func>
                                <m:funcPr>
                                  <m:ctrlPr>
                                    <a:rPr kumimoji="1" lang="en-US" altLang="ko-KR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1" lang="en-US" altLang="ko-KR" sz="1400">
                                      <a:latin typeface="Cambria Math" panose="02040503050406030204" pitchFamily="18" charset="0"/>
                                    </a:rPr>
                                    <m:t>ln</m:t>
                                  </m:r>
                                </m:fName>
                                <m:e>
                                  <m:f>
                                    <m:fPr>
                                      <m:ctrlPr>
                                        <a:rPr kumimoji="1" lang="en-US" altLang="ko-KR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kumimoji="1" lang="en-US" altLang="ko-KR" sz="14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  <m:t>𝑞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  <m:sSub>
                                        <m:sSubPr>
                                          <m:ctrlP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b>
                                          <m:r>
                                            <a:rPr kumimoji="1" lang="en-US" altLang="ko-KR" sz="140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den>
                                  </m:f>
                                </m:e>
                              </m:func>
                            </m:den>
                          </m:f>
                        </m:e>
                      </m:d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,  </m:t>
                      </m:r>
                      <m:sSub>
                        <m:sSubPr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&lt;</m:t>
                      </m:r>
                      <m:f>
                        <m:fPr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16</m:t>
                          </m:r>
                          <m:sSub>
                            <m:sSubPr>
                              <m:ctrlP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kumimoji="1" lang="en-US" altLang="ko-KR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,</m:t>
                      </m:r>
                    </m:oMath>
                  </a14:m>
                  <a:r>
                    <a:rPr kumimoji="1" lang="en-US" altLang="ko-KR" sz="1400" dirty="0"/>
                    <a:t> </a:t>
                  </a:r>
                  <a14:m>
                    <m:oMath xmlns:m="http://schemas.openxmlformats.org/officeDocument/2006/math"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kumimoji="1" lang="ko-KR" altLang="en-US" sz="1400" i="1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1" lang="en-US" altLang="ko-KR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kumimoji="1" lang="en-US" altLang="ko-KR" sz="1400" i="1">
                          <a:latin typeface="Cambria Math" panose="02040503050406030204" pitchFamily="18" charset="0"/>
                        </a:rPr>
                        <m:t>≥1,</m:t>
                      </m:r>
                    </m:oMath>
                  </a14:m>
                  <a:endParaRPr kumimoji="1" lang="en-US" altLang="ko-KR" sz="140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1" lang="en-US" altLang="ko-KR" sz="1400" b="0" i="0" smtClean="0">
                            <a:latin typeface="Cambria Math" panose="02040503050406030204" pitchFamily="18" charset="0"/>
                          </a:rPr>
                          <m:t>u</m:t>
                        </m:r>
                        <m:r>
                          <a:rPr kumimoji="1" lang="en-US" altLang="ko-KR" sz="1400" i="1" smtClean="0">
                            <a:latin typeface="Cambria Math" panose="02040503050406030204" pitchFamily="18" charset="0"/>
                          </a:rPr>
                          <m:t>𝑠𝑒𝑟</m:t>
                        </m:r>
                        <m:r>
                          <a:rPr kumimoji="1" lang="en-US" altLang="ko-KR" sz="1400" i="1" smtClean="0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p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𝐺𝑎𝑢𝑠𝑠𝑖𝑎𝑛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𝑚𝑒𝑐h𝑎𝑛𝑖𝑠𝑚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DE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ℳ</m:t>
                            </m:r>
                          </m:e>
                          <m:sub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𝑤𝑖𝑡h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𝑛𝑜𝑖𝑠𝑒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𝑣𝑎𝑟𝑖𝑎𝑛𝑐𝑒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kumimoji="1" lang="en-US" altLang="ko-KR" sz="140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𝑒𝑎𝑐h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𝑑𝑖𝑚𝑒𝑛𝑠𝑖𝑜𝑛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p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sSubSup>
                          <m:sSubSup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𝑖𝑠</m:t>
                        </m:r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kumimoji="1" lang="en-US" altLang="ko-KR" sz="14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  <m:t>𝝐</m:t>
                                </m:r>
                              </m:e>
                              <m:sub>
                                <m: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  <m:t>𝒌</m:t>
                                </m:r>
                              </m:sub>
                            </m:sSub>
                            <m:r>
                              <a:rPr kumimoji="1" lang="en-US" altLang="ko-KR" sz="1400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  <m:t>𝜹</m:t>
                                </m:r>
                              </m:e>
                              <m:sub>
                                <m:r>
                                  <a:rPr kumimoji="1" lang="en-US" altLang="ko-KR" sz="1400" b="1" i="1">
                                    <a:latin typeface="Cambria Math" panose="02040503050406030204" pitchFamily="18" charset="0"/>
                                  </a:rPr>
                                  <m:t>𝒌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R" sz="1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kumimoji="1" lang="en-US" altLang="ko-KR" sz="1400" b="1" i="1">
                            <a:latin typeface="Cambria Math" panose="02040503050406030204" pitchFamily="18" charset="0"/>
                          </a:rPr>
                          <m:t>𝑳𝑫𝑷</m:t>
                        </m:r>
                        <m:r>
                          <a:rPr kumimoji="1" lang="en-US" altLang="ko-KR" sz="1400" b="1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𝑎𝑓𝑡𝑒𝑟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𝑖𝑡𝑒𝑟𝑎𝑡𝑖𝑜𝑛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𝑖𝑓</m:t>
                        </m:r>
                      </m:oMath>
                    </m:oMathPara>
                  </a14:m>
                  <a:endParaRPr lang="ko-Kore-DE" altLang="en-US" sz="1400" dirty="0"/>
                </a:p>
                <a:p>
                  <a:endParaRPr kumimoji="1" lang="en-US" altLang="ko-KR" sz="70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kumimoji="1" lang="en-US" altLang="ko-KR" sz="14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≥</m:t>
                        </m:r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f>
                          <m:f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4</m:t>
                            </m:r>
                            <m:sSubSup>
                              <m:sSubSupPr>
                                <m:ctrlP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  <m:sup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num>
                          <m:den>
                            <m: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sSub>
                              <m:sSubPr>
                                <m:ctrlP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sSubSup>
                                  <m:sSubSup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𝜖</m:t>
                                    </m:r>
                                  </m:e>
                                  <m:sub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  <m:sup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func>
                              <m:funcPr>
                                <m:ctrlP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>
                                <m:r>
                                  <m:rPr>
                                    <m:sty m:val="p"/>
                                  </m:rPr>
                                  <a:rPr kumimoji="1" lang="en-US" altLang="ko-KR" sz="1400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fName>
                              <m:e>
                                <m:f>
                                  <m:f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𝛿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den>
                                </m:f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𝜖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den>
                                </m:f>
                                <m:r>
                                  <a:rPr kumimoji="1" lang="en-US" altLang="ko-KR" sz="14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num>
                                  <m:den>
                                    <m:sSubSup>
                                      <m:sSubSup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𝜖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den>
                                </m:f>
                                <m:d>
                                  <m:d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func>
                                      <m:func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uncPr>
                                      <m:fName>
                                        <m:r>
                                          <m:rPr>
                                            <m:sty m:val="p"/>
                                          </m:rPr>
                                          <a:rPr kumimoji="1" lang="en-US" altLang="ko-KR" sz="1400">
                                            <a:latin typeface="Cambria Math" panose="02040503050406030204" pitchFamily="18" charset="0"/>
                                          </a:rPr>
                                          <m:t>log</m:t>
                                        </m:r>
                                      </m:fName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  <m:t>(2</m:t>
                                        </m:r>
                                        <m:func>
                                          <m:funcPr>
                                            <m:ctrlPr>
                                              <a:rPr kumimoji="1" lang="en-US" altLang="ko-KR" sz="14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uncPr>
                                          <m:fName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kumimoji="1" lang="en-US" altLang="ko-KR" sz="1400">
                                                <a:latin typeface="Cambria Math" panose="02040503050406030204" pitchFamily="18" charset="0"/>
                                              </a:rPr>
                                              <m:t>log</m:t>
                                            </m:r>
                                          </m:fName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kumimoji="1" lang="en-US" altLang="ko-KR" sz="140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kumimoji="1" lang="en-US" altLang="ko-KR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𝛿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kumimoji="1" lang="en-US" altLang="ko-KR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</m:sub>
                                              <m:sup>
                                                <m:r>
                                                  <a:rPr kumimoji="1" lang="en-US" altLang="ko-KR" sz="1400" i="1">
                                                    <a:latin typeface="Cambria Math" panose="02040503050406030204" pitchFamily="18" charset="0"/>
                                                  </a:rPr>
                                                  <m:t>−1</m:t>
                                                </m:r>
                                              </m:sup>
                                            </m:sSubSup>
                                          </m:e>
                                        </m:func>
                                      </m:e>
                                    </m:func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</a:rPr>
                                      <m:t>)+1−</m:t>
                                    </m:r>
                                    <m:func>
                                      <m:func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uncPr>
                                      <m:fName>
                                        <m:r>
                                          <m:rPr>
                                            <m:sty m:val="p"/>
                                          </m:rPr>
                                          <a:rPr kumimoji="1" lang="en-US" altLang="ko-KR" sz="1400">
                                            <a:latin typeface="Cambria Math" panose="02040503050406030204" pitchFamily="18" charset="0"/>
                                          </a:rPr>
                                          <m:t>log</m:t>
                                        </m:r>
                                      </m:fName>
                                      <m:e>
                                        <m:sSub>
                                          <m:sSubPr>
                                            <m:ctrlPr>
                                              <a:rPr kumimoji="1" lang="en-US" altLang="ko-KR" sz="14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kumimoji="1" lang="en-US" altLang="ko-KR" sz="1400" i="1">
                                                <a:latin typeface="Cambria Math" panose="02040503050406030204" pitchFamily="18" charset="0"/>
                                              </a:rPr>
                                              <m:t>𝜖</m:t>
                                            </m:r>
                                          </m:e>
                                          <m:sub>
                                            <m:r>
                                              <a:rPr kumimoji="1" lang="en-US" altLang="ko-KR" sz="140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e>
                                    </m:func>
                                  </m:e>
                                </m:d>
                              </m:e>
                            </m:func>
                          </m:e>
                        </m:d>
                      </m:oMath>
                    </m:oMathPara>
                  </a14:m>
                  <a:endParaRPr kumimoji="1" lang="en-US" altLang="ko-KR" sz="140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altLang="ko-KR" sz="14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kumimoji="1" lang="el-GR" altLang="ko-KR" sz="1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𝒪</m:t>
                        </m:r>
                        <m:d>
                          <m:dPr>
                            <m:ctrlPr>
                              <a:rPr kumimoji="1" lang="en-US" altLang="ko-KR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1" lang="en-US" altLang="ko-KR" sz="1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func>
                                  <m:func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sSup>
                                      <m:sSup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kumimoji="1" lang="en-US" altLang="ko-KR" sz="140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log</m:t>
                                        </m:r>
                                      </m:e>
                                      <m:sup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p>
                                  </m:fName>
                                  <m:e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𝑙𝑜𝑔</m:t>
                                    </m:r>
                                    <m:sSubSup>
                                      <m:sSubSup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𝛿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sup>
                                    </m:sSubSup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num>
                              <m:den>
                                <m:func>
                                  <m:funcPr>
                                    <m:ctrlP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kumimoji="1" lang="en-US" altLang="ko-KR" sz="140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log</m:t>
                                    </m:r>
                                  </m:fName>
                                  <m:e>
                                    <m:sSubSup>
                                      <m:sSubSupPr>
                                        <m:ctrlP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𝛿</m:t>
                                        </m:r>
                                      </m:e>
                                      <m:sub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kumimoji="1" lang="en-US" altLang="ko-KR" sz="14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sup>
                                    </m:sSubSup>
                                    <m:r>
                                      <a:rPr kumimoji="1" lang="en-US" altLang="ko-KR" sz="14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 </m:t>
                                    </m:r>
                                  </m:e>
                                </m:func>
                              </m:den>
                            </m:f>
                          </m:e>
                        </m:d>
                        <m:r>
                          <a:rPr kumimoji="1" lang="en-US" altLang="ko-K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oMath>
                    </m:oMathPara>
                  </a14:m>
                  <a:endParaRPr kumimoji="1" lang="en-US" altLang="ko-KR" sz="1400" i="1" dirty="0"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7" name="직사각형 6">
                  <a:extLst>
                    <a:ext uri="{FF2B5EF4-FFF2-40B4-BE49-F238E27FC236}">
                      <a16:creationId xmlns:a16="http://schemas.microsoft.com/office/drawing/2014/main" id="{7F906643-B55C-DB4E-9223-5D914234AD0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2722" y="2955271"/>
                  <a:ext cx="6124966" cy="2049985"/>
                </a:xfrm>
                <a:prstGeom prst="rect">
                  <a:avLst/>
                </a:prstGeom>
                <a:blipFill>
                  <a:blip r:embed="rId8"/>
                  <a:stretch>
                    <a:fillRect b="-613"/>
                  </a:stretch>
                </a:blipFill>
              </p:spPr>
              <p:txBody>
                <a:bodyPr/>
                <a:lstStyle/>
                <a:p>
                  <a:r>
                    <a:rPr lang="ko-Kore-DE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모서리가 둥근 직사각형 23">
                <a:extLst>
                  <a:ext uri="{FF2B5EF4-FFF2-40B4-BE49-F238E27FC236}">
                    <a16:creationId xmlns:a16="http://schemas.microsoft.com/office/drawing/2014/main" id="{CCEE93F4-B3EB-8348-BA21-4ADB72668D60}"/>
                  </a:ext>
                </a:extLst>
              </p:cNvPr>
              <p:cNvSpPr/>
              <p:nvPr/>
            </p:nvSpPr>
            <p:spPr bwMode="auto">
              <a:xfrm>
                <a:off x="704563" y="1514473"/>
                <a:ext cx="7509418" cy="504497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  <a:alpha val="73211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r>
                  <a:rPr lang="en-US" altLang="ko-Kore-DE" sz="1500" dirty="0"/>
                  <a:t>How much Gaussian noise is required to secure </a:t>
                </a:r>
                <a14:m>
                  <m:oMath xmlns:m="http://schemas.openxmlformats.org/officeDocument/2006/math">
                    <m:d>
                      <m:dPr>
                        <m:ctrlPr>
                          <a:rPr kumimoji="1" lang="en-US" altLang="ko-KR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R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sz="1600" b="0" i="1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kumimoji="1" lang="en-US" altLang="ko-KR" sz="16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kumimoji="1" lang="en-US" altLang="ko-KR" sz="1600" b="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kumimoji="1" lang="en-US" altLang="ko-KR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R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  <m:sub>
                            <m:r>
                              <a:rPr kumimoji="1" lang="en-US" altLang="ko-KR" sz="16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kumimoji="1" lang="en-US" altLang="ko-KR" sz="1600" b="0" i="1">
                        <a:latin typeface="Cambria Math" panose="02040503050406030204" pitchFamily="18" charset="0"/>
                      </a:rPr>
                      <m:t>−</m:t>
                    </m:r>
                    <m:r>
                      <a:rPr kumimoji="1" lang="en-US" altLang="ko-KR" sz="1600" b="0" i="1">
                        <a:latin typeface="Cambria Math" panose="02040503050406030204" pitchFamily="18" charset="0"/>
                      </a:rPr>
                      <m:t>𝐿𝐷𝑃</m:t>
                    </m:r>
                    <m:r>
                      <a:rPr kumimoji="1" lang="en-US" altLang="ko-KR" sz="1600" b="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ore-DE" sz="1500" dirty="0"/>
                  <a:t>after </a:t>
                </a:r>
                <a14:m>
                  <m:oMath xmlns:m="http://schemas.openxmlformats.org/officeDocument/2006/math">
                    <m:r>
                      <a:rPr lang="en-US" altLang="ko-Kore-DE" sz="1500" i="1" dirty="0" smtClean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altLang="ko-Kore-DE" sz="1500" dirty="0"/>
                  <a:t> iterations?</a:t>
                </a:r>
              </a:p>
            </p:txBody>
          </p:sp>
        </mc:Choice>
        <mc:Fallback xmlns="">
          <p:sp>
            <p:nvSpPr>
              <p:cNvPr id="24" name="모서리가 둥근 직사각형 23">
                <a:extLst>
                  <a:ext uri="{FF2B5EF4-FFF2-40B4-BE49-F238E27FC236}">
                    <a16:creationId xmlns:a16="http://schemas.microsoft.com/office/drawing/2014/main" id="{CCEE93F4-B3EB-8348-BA21-4ADB72668D6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04563" y="1514473"/>
                <a:ext cx="7509418" cy="504497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ore-DE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6644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heme/theme1.xml><?xml version="1.0" encoding="utf-8"?>
<a:theme xmlns:a="http://schemas.openxmlformats.org/drawingml/2006/main" name="TUB thema">
  <a:themeElements>
    <a:clrScheme name="청록색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B thema" id="{E7CE4722-4C28-9244-8CAD-AC0504807E26}" vid="{D5D06768-49C6-AC49-BFBC-A17731314A51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B thema</Template>
  <TotalTime>9631</TotalTime>
  <Words>2070</Words>
  <Application>Microsoft Macintosh PowerPoint</Application>
  <PresentationFormat>화면 슬라이드 쇼(4:3)</PresentationFormat>
  <Paragraphs>195</Paragraphs>
  <Slides>15</Slides>
  <Notes>14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25" baseType="lpstr">
      <vt:lpstr>Arial</vt:lpstr>
      <vt:lpstr>Arial Black</vt:lpstr>
      <vt:lpstr>Calibri</vt:lpstr>
      <vt:lpstr>Cambria</vt:lpstr>
      <vt:lpstr>Cambria Math</vt:lpstr>
      <vt:lpstr>Helvetica</vt:lpstr>
      <vt:lpstr>Symbol</vt:lpstr>
      <vt:lpstr>Wingdings</vt:lpstr>
      <vt:lpstr>TUB thema</vt:lpstr>
      <vt:lpstr>TCLayout.ActiveDocument.1</vt:lpstr>
      <vt:lpstr>PowerPoint 프레젠테이션</vt:lpstr>
      <vt:lpstr>Motivation: Federated Learning [1]</vt:lpstr>
      <vt:lpstr>Motivation: Privacy of Machine Learning</vt:lpstr>
      <vt:lpstr>Main Contribution</vt:lpstr>
      <vt:lpstr>System Modeling FL with Stochastic Gradient Descent (FedSGD) and Gaussian Mechanism</vt:lpstr>
      <vt:lpstr>Performance Metrics: Privacy</vt:lpstr>
      <vt:lpstr>Performance Metrics: Global Utility</vt:lpstr>
      <vt:lpstr>Performance Metrics: Transmission Rate</vt:lpstr>
      <vt:lpstr>Theoretical Analysis: Privacy</vt:lpstr>
      <vt:lpstr>Theoretical Analysis: Privacy</vt:lpstr>
      <vt:lpstr>PowerPoint 프레젠테이션</vt:lpstr>
      <vt:lpstr>Simulated Results</vt:lpstr>
      <vt:lpstr>Conclusion</vt:lpstr>
      <vt:lpstr>Thank you for listening!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ASSP 2021</dc:title>
  <dc:creator>Kim Muah</dc:creator>
  <cp:lastModifiedBy>Kim Muah</cp:lastModifiedBy>
  <cp:revision>611</cp:revision>
  <dcterms:created xsi:type="dcterms:W3CDTF">2021-02-16T10:46:08Z</dcterms:created>
  <dcterms:modified xsi:type="dcterms:W3CDTF">2021-06-24T08:43:15Z</dcterms:modified>
</cp:coreProperties>
</file>